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ov" ContentType="video/quicktime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8.xml" ContentType="application/vnd.openxmlformats-officedocument.presentationml.tags+xml"/>
  <Override PartName="/ppt/notesSlides/notesSlide1.xml" ContentType="application/vnd.openxmlformats-officedocument.presentationml.notesSlide+xml"/>
  <Override PartName="/ppt/tags/tag49.xml" ContentType="application/vnd.openxmlformats-officedocument.presentationml.tags+xml"/>
  <Override PartName="/ppt/notesSlides/notesSlide2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8"/>
  </p:notesMasterIdLst>
  <p:handoutMasterIdLst>
    <p:handoutMasterId r:id="rId29"/>
  </p:handoutMasterIdLst>
  <p:sldIdLst>
    <p:sldId id="256" r:id="rId5"/>
    <p:sldId id="477" r:id="rId6"/>
    <p:sldId id="260" r:id="rId7"/>
    <p:sldId id="371" r:id="rId8"/>
    <p:sldId id="458" r:id="rId9"/>
    <p:sldId id="459" r:id="rId10"/>
    <p:sldId id="460" r:id="rId11"/>
    <p:sldId id="461" r:id="rId12"/>
    <p:sldId id="462" r:id="rId13"/>
    <p:sldId id="463" r:id="rId14"/>
    <p:sldId id="464" r:id="rId15"/>
    <p:sldId id="465" r:id="rId16"/>
    <p:sldId id="466" r:id="rId17"/>
    <p:sldId id="467" r:id="rId18"/>
    <p:sldId id="468" r:id="rId19"/>
    <p:sldId id="469" r:id="rId20"/>
    <p:sldId id="470" r:id="rId21"/>
    <p:sldId id="473" r:id="rId22"/>
    <p:sldId id="474" r:id="rId23"/>
    <p:sldId id="475" r:id="rId24"/>
    <p:sldId id="476" r:id="rId25"/>
    <p:sldId id="403" r:id="rId26"/>
    <p:sldId id="258" r:id="rId27"/>
  </p:sldIdLst>
  <p:sldSz cx="12192000" cy="6858000"/>
  <p:notesSz cx="6858000" cy="9144000"/>
  <p:custDataLst>
    <p:tags r:id="rId3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8591005-86D1-41BD-A802-3B18DFB3D6F3}">
          <p14:sldIdLst>
            <p14:sldId id="256"/>
            <p14:sldId id="477"/>
            <p14:sldId id="260"/>
            <p14:sldId id="371"/>
            <p14:sldId id="458"/>
            <p14:sldId id="459"/>
            <p14:sldId id="460"/>
            <p14:sldId id="461"/>
            <p14:sldId id="462"/>
            <p14:sldId id="463"/>
            <p14:sldId id="464"/>
            <p14:sldId id="465"/>
            <p14:sldId id="466"/>
            <p14:sldId id="467"/>
            <p14:sldId id="468"/>
            <p14:sldId id="469"/>
            <p14:sldId id="470"/>
            <p14:sldId id="473"/>
            <p14:sldId id="474"/>
            <p14:sldId id="475"/>
            <p14:sldId id="476"/>
            <p14:sldId id="403"/>
            <p14:sldId id="25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28E56C0-129A-49D1-BE09-8438CF1D8646}" v="48" dt="2024-07-04T06:23:25.803"/>
  </p1510:revLst>
</p1510:revInfo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76" d="100"/>
          <a:sy n="76" d="100"/>
        </p:scale>
        <p:origin x="67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microsoft.com/office/2016/11/relationships/changesInfo" Target="changesInfos/changesInfo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otin, Boris" userId="bb86313e-37f2-46c4-9c6c-fa8290388e6f" providerId="ADAL" clId="{C5BA680E-2A8B-4813-AF9D-CC716A4A300A}"/>
    <pc:docChg chg="modSld">
      <pc:chgData name="Motin, Boris" userId="bb86313e-37f2-46c4-9c6c-fa8290388e6f" providerId="ADAL" clId="{C5BA680E-2A8B-4813-AF9D-CC716A4A300A}" dt="2024-03-06T08:11:12.881" v="0" actId="1076"/>
      <pc:docMkLst>
        <pc:docMk/>
      </pc:docMkLst>
      <pc:sldChg chg="modSp mod">
        <pc:chgData name="Motin, Boris" userId="bb86313e-37f2-46c4-9c6c-fa8290388e6f" providerId="ADAL" clId="{C5BA680E-2A8B-4813-AF9D-CC716A4A300A}" dt="2024-03-06T08:11:12.881" v="0" actId="1076"/>
        <pc:sldMkLst>
          <pc:docMk/>
          <pc:sldMk cId="3502433060" sldId="452"/>
        </pc:sldMkLst>
        <pc:picChg chg="mod">
          <ac:chgData name="Motin, Boris" userId="bb86313e-37f2-46c4-9c6c-fa8290388e6f" providerId="ADAL" clId="{C5BA680E-2A8B-4813-AF9D-CC716A4A300A}" dt="2024-03-06T08:11:12.881" v="0" actId="1076"/>
          <ac:picMkLst>
            <pc:docMk/>
            <pc:sldMk cId="3502433060" sldId="452"/>
            <ac:picMk id="2" creationId="{A371CDF3-3B23-D589-9D3A-41361EC66B6B}"/>
          </ac:picMkLst>
        </pc:picChg>
      </pc:sldChg>
    </pc:docChg>
  </pc:docChgLst>
  <pc:docChgLst>
    <pc:chgData name="Motin, Boris" userId="bb86313e-37f2-46c4-9c6c-fa8290388e6f" providerId="ADAL" clId="{C28E56C0-129A-49D1-BE09-8438CF1D8646}"/>
    <pc:docChg chg="undo redo custSel addSld delSld modSld sldOrd modSection">
      <pc:chgData name="Motin, Boris" userId="bb86313e-37f2-46c4-9c6c-fa8290388e6f" providerId="ADAL" clId="{C28E56C0-129A-49D1-BE09-8438CF1D8646}" dt="2024-07-04T07:07:23.797" v="5075" actId="1076"/>
      <pc:docMkLst>
        <pc:docMk/>
      </pc:docMkLst>
      <pc:sldChg chg="addSp modSp mod">
        <pc:chgData name="Motin, Boris" userId="bb86313e-37f2-46c4-9c6c-fa8290388e6f" providerId="ADAL" clId="{C28E56C0-129A-49D1-BE09-8438CF1D8646}" dt="2024-07-04T05:13:49.631" v="4213"/>
        <pc:sldMkLst>
          <pc:docMk/>
          <pc:sldMk cId="3039429863" sldId="256"/>
        </pc:sldMkLst>
        <pc:spChg chg="add mod">
          <ac:chgData name="Motin, Boris" userId="bb86313e-37f2-46c4-9c6c-fa8290388e6f" providerId="ADAL" clId="{C28E56C0-129A-49D1-BE09-8438CF1D8646}" dt="2024-07-04T05:13:35.579" v="4208"/>
          <ac:spMkLst>
            <pc:docMk/>
            <pc:sldMk cId="3039429863" sldId="256"/>
            <ac:spMk id="2" creationId="{63BA0211-7BE1-916E-99DE-D9BB1CDEAAC0}"/>
          </ac:spMkLst>
        </pc:spChg>
        <pc:spChg chg="add mod">
          <ac:chgData name="Motin, Boris" userId="bb86313e-37f2-46c4-9c6c-fa8290388e6f" providerId="ADAL" clId="{C28E56C0-129A-49D1-BE09-8438CF1D8646}" dt="2024-07-04T05:13:49.631" v="4213"/>
          <ac:spMkLst>
            <pc:docMk/>
            <pc:sldMk cId="3039429863" sldId="256"/>
            <ac:spMk id="3" creationId="{55C3686C-1F8E-479F-6AD6-8426CD2A949C}"/>
          </ac:spMkLst>
        </pc:spChg>
        <pc:spChg chg="mod">
          <ac:chgData name="Motin, Boris" userId="bb86313e-37f2-46c4-9c6c-fa8290388e6f" providerId="ADAL" clId="{C28E56C0-129A-49D1-BE09-8438CF1D8646}" dt="2024-07-04T05:13:42.023" v="4211" actId="20577"/>
          <ac:spMkLst>
            <pc:docMk/>
            <pc:sldMk cId="3039429863" sldId="256"/>
            <ac:spMk id="18" creationId="{0D66F4A6-1A8C-4975-A6F6-AC1B75446F8A}"/>
          </ac:spMkLst>
        </pc:spChg>
        <pc:spChg chg="mod">
          <ac:chgData name="Motin, Boris" userId="bb86313e-37f2-46c4-9c6c-fa8290388e6f" providerId="ADAL" clId="{C28E56C0-129A-49D1-BE09-8438CF1D8646}" dt="2024-06-06T13:06:50.716" v="147" actId="20577"/>
          <ac:spMkLst>
            <pc:docMk/>
            <pc:sldMk cId="3039429863" sldId="256"/>
            <ac:spMk id="19" creationId="{4AF04904-5DDE-4F1F-8A6A-692CED40120A}"/>
          </ac:spMkLst>
        </pc:spChg>
        <pc:spChg chg="mod">
          <ac:chgData name="Motin, Boris" userId="bb86313e-37f2-46c4-9c6c-fa8290388e6f" providerId="ADAL" clId="{C28E56C0-129A-49D1-BE09-8438CF1D8646}" dt="2024-07-04T01:06:28.655" v="2550" actId="20577"/>
          <ac:spMkLst>
            <pc:docMk/>
            <pc:sldMk cId="3039429863" sldId="256"/>
            <ac:spMk id="20" creationId="{EC95002B-4E3E-406C-9629-AD51407D5C46}"/>
          </ac:spMkLst>
        </pc:spChg>
      </pc:sldChg>
      <pc:sldChg chg="del">
        <pc:chgData name="Motin, Boris" userId="bb86313e-37f2-46c4-9c6c-fa8290388e6f" providerId="ADAL" clId="{C28E56C0-129A-49D1-BE09-8438CF1D8646}" dt="2024-07-04T01:23:44.776" v="2805" actId="47"/>
        <pc:sldMkLst>
          <pc:docMk/>
          <pc:sldMk cId="1501829360" sldId="257"/>
        </pc:sldMkLst>
      </pc:sldChg>
      <pc:sldChg chg="addSp delSp modSp mod">
        <pc:chgData name="Motin, Boris" userId="bb86313e-37f2-46c4-9c6c-fa8290388e6f" providerId="ADAL" clId="{C28E56C0-129A-49D1-BE09-8438CF1D8646}" dt="2024-07-04T01:54:18.769" v="3162" actId="29295"/>
        <pc:sldMkLst>
          <pc:docMk/>
          <pc:sldMk cId="2043990686" sldId="260"/>
        </pc:sldMkLst>
        <pc:spChg chg="mod">
          <ac:chgData name="Motin, Boris" userId="bb86313e-37f2-46c4-9c6c-fa8290388e6f" providerId="ADAL" clId="{C28E56C0-129A-49D1-BE09-8438CF1D8646}" dt="2024-07-04T01:26:32.833" v="2828" actId="20577"/>
          <ac:spMkLst>
            <pc:docMk/>
            <pc:sldMk cId="2043990686" sldId="260"/>
            <ac:spMk id="3" creationId="{00000000-0000-0000-0000-000000000000}"/>
          </ac:spMkLst>
        </pc:spChg>
        <pc:spChg chg="mod">
          <ac:chgData name="Motin, Boris" userId="bb86313e-37f2-46c4-9c6c-fa8290388e6f" providerId="ADAL" clId="{C28E56C0-129A-49D1-BE09-8438CF1D8646}" dt="2024-07-04T01:54:11.766" v="3153" actId="1076"/>
          <ac:spMkLst>
            <pc:docMk/>
            <pc:sldMk cId="2043990686" sldId="260"/>
            <ac:spMk id="8" creationId="{EAE6F824-4D87-4450-95DD-E5943763DC9A}"/>
          </ac:spMkLst>
        </pc:spChg>
        <pc:picChg chg="add mod ord">
          <ac:chgData name="Motin, Boris" userId="bb86313e-37f2-46c4-9c6c-fa8290388e6f" providerId="ADAL" clId="{C28E56C0-129A-49D1-BE09-8438CF1D8646}" dt="2024-07-04T01:54:18.769" v="3162" actId="29295"/>
          <ac:picMkLst>
            <pc:docMk/>
            <pc:sldMk cId="2043990686" sldId="260"/>
            <ac:picMk id="2" creationId="{C589D3D5-4260-F151-9D07-ADA145574D6E}"/>
          </ac:picMkLst>
        </pc:picChg>
        <pc:picChg chg="del">
          <ac:chgData name="Motin, Boris" userId="bb86313e-37f2-46c4-9c6c-fa8290388e6f" providerId="ADAL" clId="{C28E56C0-129A-49D1-BE09-8438CF1D8646}" dt="2024-07-04T01:05:18.455" v="2527" actId="478"/>
          <ac:picMkLst>
            <pc:docMk/>
            <pc:sldMk cId="2043990686" sldId="260"/>
            <ac:picMk id="6" creationId="{5071CAD5-822C-757C-91E9-2A1C625D592F}"/>
          </ac:picMkLst>
        </pc:picChg>
        <pc:picChg chg="del">
          <ac:chgData name="Motin, Boris" userId="bb86313e-37f2-46c4-9c6c-fa8290388e6f" providerId="ADAL" clId="{C28E56C0-129A-49D1-BE09-8438CF1D8646}" dt="2024-07-04T01:05:16.717" v="2526" actId="478"/>
          <ac:picMkLst>
            <pc:docMk/>
            <pc:sldMk cId="2043990686" sldId="260"/>
            <ac:picMk id="10" creationId="{5F94118B-321D-32FF-1F8D-FBF0DF958491}"/>
          </ac:picMkLst>
        </pc:picChg>
      </pc:sldChg>
      <pc:sldChg chg="modSp mod">
        <pc:chgData name="Motin, Boris" userId="bb86313e-37f2-46c4-9c6c-fa8290388e6f" providerId="ADAL" clId="{C28E56C0-129A-49D1-BE09-8438CF1D8646}" dt="2024-06-28T09:52:28.806" v="2293" actId="20577"/>
        <pc:sldMkLst>
          <pc:docMk/>
          <pc:sldMk cId="1617548245" sldId="371"/>
        </pc:sldMkLst>
        <pc:spChg chg="mod">
          <ac:chgData name="Motin, Boris" userId="bb86313e-37f2-46c4-9c6c-fa8290388e6f" providerId="ADAL" clId="{C28E56C0-129A-49D1-BE09-8438CF1D8646}" dt="2024-06-28T09:52:28.806" v="2293" actId="20577"/>
          <ac:spMkLst>
            <pc:docMk/>
            <pc:sldMk cId="1617548245" sldId="371"/>
            <ac:spMk id="6" creationId="{D62AF418-38EF-472D-9BC7-9A61E0AFE232}"/>
          </ac:spMkLst>
        </pc:spChg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4281766251" sldId="372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2152558153" sldId="373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203135486" sldId="374"/>
        </pc:sldMkLst>
      </pc:sldChg>
      <pc:sldChg chg="del ord">
        <pc:chgData name="Motin, Boris" userId="bb86313e-37f2-46c4-9c6c-fa8290388e6f" providerId="ADAL" clId="{C28E56C0-129A-49D1-BE09-8438CF1D8646}" dt="2024-07-04T01:23:31.650" v="2804" actId="47"/>
        <pc:sldMkLst>
          <pc:docMk/>
          <pc:sldMk cId="1096711969" sldId="375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3658016766" sldId="376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893789062" sldId="377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4107906067" sldId="378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2818769350" sldId="379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668011068" sldId="381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4188359244" sldId="382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391142843" sldId="384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1051925055" sldId="385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708464271" sldId="386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1412393885" sldId="387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1155602189" sldId="388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48431228" sldId="389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3407480099" sldId="390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1138226447" sldId="391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1964077198" sldId="392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368206347" sldId="393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3409906684" sldId="394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1961731020" sldId="395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2960367469" sldId="396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3576384306" sldId="397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4208877986" sldId="398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2390513461" sldId="399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3152442607" sldId="400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3221801698" sldId="401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2679678160" sldId="402"/>
        </pc:sldMkLst>
      </pc:sldChg>
      <pc:sldChg chg="delSp modSp mod">
        <pc:chgData name="Motin, Boris" userId="bb86313e-37f2-46c4-9c6c-fa8290388e6f" providerId="ADAL" clId="{C28E56C0-129A-49D1-BE09-8438CF1D8646}" dt="2024-07-04T06:23:51.067" v="4861" actId="1076"/>
        <pc:sldMkLst>
          <pc:docMk/>
          <pc:sldMk cId="1042276675" sldId="403"/>
        </pc:sldMkLst>
        <pc:spChg chg="mod">
          <ac:chgData name="Motin, Boris" userId="bb86313e-37f2-46c4-9c6c-fa8290388e6f" providerId="ADAL" clId="{C28E56C0-129A-49D1-BE09-8438CF1D8646}" dt="2024-07-04T05:46:12.070" v="4294" actId="20577"/>
          <ac:spMkLst>
            <pc:docMk/>
            <pc:sldMk cId="1042276675" sldId="403"/>
            <ac:spMk id="3" creationId="{00000000-0000-0000-0000-000000000000}"/>
          </ac:spMkLst>
        </pc:spChg>
        <pc:spChg chg="del">
          <ac:chgData name="Motin, Boris" userId="bb86313e-37f2-46c4-9c6c-fa8290388e6f" providerId="ADAL" clId="{C28E56C0-129A-49D1-BE09-8438CF1D8646}" dt="2024-07-04T05:45:57.996" v="4272" actId="478"/>
          <ac:spMkLst>
            <pc:docMk/>
            <pc:sldMk cId="1042276675" sldId="403"/>
            <ac:spMk id="5" creationId="{1BB5CACE-E3A1-E1E0-E2C8-BE6603DAE045}"/>
          </ac:spMkLst>
        </pc:spChg>
        <pc:spChg chg="mod">
          <ac:chgData name="Motin, Boris" userId="bb86313e-37f2-46c4-9c6c-fa8290388e6f" providerId="ADAL" clId="{C28E56C0-129A-49D1-BE09-8438CF1D8646}" dt="2024-07-04T06:23:51.067" v="4861" actId="1076"/>
          <ac:spMkLst>
            <pc:docMk/>
            <pc:sldMk cId="1042276675" sldId="403"/>
            <ac:spMk id="8" creationId="{EAE6F824-4D87-4450-95DD-E5943763DC9A}"/>
          </ac:spMkLst>
        </pc:spChg>
        <pc:picChg chg="del">
          <ac:chgData name="Motin, Boris" userId="bb86313e-37f2-46c4-9c6c-fa8290388e6f" providerId="ADAL" clId="{C28E56C0-129A-49D1-BE09-8438CF1D8646}" dt="2024-07-04T05:45:37.128" v="4269" actId="478"/>
          <ac:picMkLst>
            <pc:docMk/>
            <pc:sldMk cId="1042276675" sldId="403"/>
            <ac:picMk id="6" creationId="{2530DECE-49C0-1057-5338-80225B8AD8E4}"/>
          </ac:picMkLst>
        </pc:picChg>
        <pc:picChg chg="del">
          <ac:chgData name="Motin, Boris" userId="bb86313e-37f2-46c4-9c6c-fa8290388e6f" providerId="ADAL" clId="{C28E56C0-129A-49D1-BE09-8438CF1D8646}" dt="2024-07-04T05:45:47.902" v="4270" actId="478"/>
          <ac:picMkLst>
            <pc:docMk/>
            <pc:sldMk cId="1042276675" sldId="403"/>
            <ac:picMk id="9" creationId="{CB9EC279-7511-8960-FF11-E3C02F372358}"/>
          </ac:picMkLst>
        </pc:picChg>
        <pc:cxnChg chg="del">
          <ac:chgData name="Motin, Boris" userId="bb86313e-37f2-46c4-9c6c-fa8290388e6f" providerId="ADAL" clId="{C28E56C0-129A-49D1-BE09-8438CF1D8646}" dt="2024-07-04T05:45:50.209" v="4271" actId="478"/>
          <ac:cxnSpMkLst>
            <pc:docMk/>
            <pc:sldMk cId="1042276675" sldId="403"/>
            <ac:cxnSpMk id="13" creationId="{D7404B06-5C0C-2927-1BD7-5CF111F226BF}"/>
          </ac:cxnSpMkLst>
        </pc:cxnChg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726715759" sldId="404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3842495953" sldId="405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1080225051" sldId="406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1843357626" sldId="407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1555188671" sldId="408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2182387826" sldId="410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3321728372" sldId="411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1165635457" sldId="412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2639258748" sldId="413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2182301254" sldId="417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167213580" sldId="419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1903653131" sldId="420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2712931902" sldId="421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2529736744" sldId="423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1968104822" sldId="424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4112086890" sldId="425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104140434" sldId="427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2005495426" sldId="428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4140729791" sldId="429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3739203428" sldId="430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324900836" sldId="431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945276428" sldId="432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2936760688" sldId="433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1065479242" sldId="434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2304040365" sldId="436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3180282997" sldId="437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2997481791" sldId="438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4188678622" sldId="439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422759680" sldId="440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4021791117" sldId="441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1237938522" sldId="442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2716596218" sldId="443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3545138635" sldId="444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381951244" sldId="445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3211374358" sldId="446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4077998480" sldId="447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3697470964" sldId="448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964904274" sldId="449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1404221578" sldId="450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860418529" sldId="451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3502433060" sldId="452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3853313552" sldId="453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1472929759" sldId="454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4174670950" sldId="455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1334968910" sldId="456"/>
        </pc:sldMkLst>
      </pc:sldChg>
      <pc:sldChg chg="del">
        <pc:chgData name="Motin, Boris" userId="bb86313e-37f2-46c4-9c6c-fa8290388e6f" providerId="ADAL" clId="{C28E56C0-129A-49D1-BE09-8438CF1D8646}" dt="2024-07-04T01:23:31.650" v="2804" actId="47"/>
        <pc:sldMkLst>
          <pc:docMk/>
          <pc:sldMk cId="2790054170" sldId="457"/>
        </pc:sldMkLst>
      </pc:sldChg>
      <pc:sldChg chg="addSp delSp modSp mod ord">
        <pc:chgData name="Motin, Boris" userId="bb86313e-37f2-46c4-9c6c-fa8290388e6f" providerId="ADAL" clId="{C28E56C0-129A-49D1-BE09-8438CF1D8646}" dt="2024-07-04T07:06:27.549" v="5068" actId="1076"/>
        <pc:sldMkLst>
          <pc:docMk/>
          <pc:sldMk cId="1426716692" sldId="458"/>
        </pc:sldMkLst>
        <pc:spChg chg="mod">
          <ac:chgData name="Motin, Boris" userId="bb86313e-37f2-46c4-9c6c-fa8290388e6f" providerId="ADAL" clId="{C28E56C0-129A-49D1-BE09-8438CF1D8646}" dt="2024-07-04T01:09:42.441" v="2623" actId="20577"/>
          <ac:spMkLst>
            <pc:docMk/>
            <pc:sldMk cId="1426716692" sldId="458"/>
            <ac:spMk id="3" creationId="{00000000-0000-0000-0000-000000000000}"/>
          </ac:spMkLst>
        </pc:spChg>
        <pc:spChg chg="mod">
          <ac:chgData name="Motin, Boris" userId="bb86313e-37f2-46c4-9c6c-fa8290388e6f" providerId="ADAL" clId="{C28E56C0-129A-49D1-BE09-8438CF1D8646}" dt="2024-06-26T16:24:40.972" v="876" actId="20577"/>
          <ac:spMkLst>
            <pc:docMk/>
            <pc:sldMk cId="1426716692" sldId="458"/>
            <ac:spMk id="8" creationId="{EAE6F824-4D87-4450-95DD-E5943763DC9A}"/>
          </ac:spMkLst>
        </pc:spChg>
        <pc:picChg chg="add mod">
          <ac:chgData name="Motin, Boris" userId="bb86313e-37f2-46c4-9c6c-fa8290388e6f" providerId="ADAL" clId="{C28E56C0-129A-49D1-BE09-8438CF1D8646}" dt="2024-07-04T07:06:27.549" v="5068" actId="1076"/>
          <ac:picMkLst>
            <pc:docMk/>
            <pc:sldMk cId="1426716692" sldId="458"/>
            <ac:picMk id="5" creationId="{9468ECC8-D2A9-9ED6-0042-5724D7F520A7}"/>
          </ac:picMkLst>
        </pc:picChg>
        <pc:picChg chg="del">
          <ac:chgData name="Motin, Boris" userId="bb86313e-37f2-46c4-9c6c-fa8290388e6f" providerId="ADAL" clId="{C28E56C0-129A-49D1-BE09-8438CF1D8646}" dt="2024-06-26T14:50:20.709" v="156" actId="478"/>
          <ac:picMkLst>
            <pc:docMk/>
            <pc:sldMk cId="1426716692" sldId="458"/>
            <ac:picMk id="7" creationId="{B8A15E20-4EEE-2876-1DE9-E1D89C45A780}"/>
          </ac:picMkLst>
        </pc:picChg>
      </pc:sldChg>
      <pc:sldChg chg="addSp delSp modSp add mod">
        <pc:chgData name="Motin, Boris" userId="bb86313e-37f2-46c4-9c6c-fa8290388e6f" providerId="ADAL" clId="{C28E56C0-129A-49D1-BE09-8438CF1D8646}" dt="2024-07-04T07:05:43.110" v="5063" actId="14100"/>
        <pc:sldMkLst>
          <pc:docMk/>
          <pc:sldMk cId="403050488" sldId="459"/>
        </pc:sldMkLst>
        <pc:spChg chg="mod">
          <ac:chgData name="Motin, Boris" userId="bb86313e-37f2-46c4-9c6c-fa8290388e6f" providerId="ADAL" clId="{C28E56C0-129A-49D1-BE09-8438CF1D8646}" dt="2024-07-04T01:09:59.376" v="2644" actId="20577"/>
          <ac:spMkLst>
            <pc:docMk/>
            <pc:sldMk cId="403050488" sldId="459"/>
            <ac:spMk id="3" creationId="{00000000-0000-0000-0000-000000000000}"/>
          </ac:spMkLst>
        </pc:spChg>
        <pc:spChg chg="mod">
          <ac:chgData name="Motin, Boris" userId="bb86313e-37f2-46c4-9c6c-fa8290388e6f" providerId="ADAL" clId="{C28E56C0-129A-49D1-BE09-8438CF1D8646}" dt="2024-06-26T14:59:17.656" v="441" actId="20577"/>
          <ac:spMkLst>
            <pc:docMk/>
            <pc:sldMk cId="403050488" sldId="459"/>
            <ac:spMk id="8" creationId="{EAE6F824-4D87-4450-95DD-E5943763DC9A}"/>
          </ac:spMkLst>
        </pc:spChg>
        <pc:picChg chg="del">
          <ac:chgData name="Motin, Boris" userId="bb86313e-37f2-46c4-9c6c-fa8290388e6f" providerId="ADAL" clId="{C28E56C0-129A-49D1-BE09-8438CF1D8646}" dt="2024-06-26T14:56:04.009" v="242" actId="478"/>
          <ac:picMkLst>
            <pc:docMk/>
            <pc:sldMk cId="403050488" sldId="459"/>
            <ac:picMk id="5" creationId="{9468ECC8-D2A9-9ED6-0042-5724D7F520A7}"/>
          </ac:picMkLst>
        </pc:picChg>
        <pc:picChg chg="add mod">
          <ac:chgData name="Motin, Boris" userId="bb86313e-37f2-46c4-9c6c-fa8290388e6f" providerId="ADAL" clId="{C28E56C0-129A-49D1-BE09-8438CF1D8646}" dt="2024-07-04T07:05:43.110" v="5063" actId="14100"/>
          <ac:picMkLst>
            <pc:docMk/>
            <pc:sldMk cId="403050488" sldId="459"/>
            <ac:picMk id="6" creationId="{3D061EDE-C243-6372-17DF-D5C8BD82D3D6}"/>
          </ac:picMkLst>
        </pc:picChg>
      </pc:sldChg>
      <pc:sldChg chg="addSp delSp modSp add mod">
        <pc:chgData name="Motin, Boris" userId="bb86313e-37f2-46c4-9c6c-fa8290388e6f" providerId="ADAL" clId="{C28E56C0-129A-49D1-BE09-8438CF1D8646}" dt="2024-07-04T07:05:24.432" v="5062" actId="1076"/>
        <pc:sldMkLst>
          <pc:docMk/>
          <pc:sldMk cId="2644689681" sldId="460"/>
        </pc:sldMkLst>
        <pc:spChg chg="add del mod">
          <ac:chgData name="Motin, Boris" userId="bb86313e-37f2-46c4-9c6c-fa8290388e6f" providerId="ADAL" clId="{C28E56C0-129A-49D1-BE09-8438CF1D8646}" dt="2024-06-26T16:15:55.213" v="657" actId="478"/>
          <ac:spMkLst>
            <pc:docMk/>
            <pc:sldMk cId="2644689681" sldId="460"/>
            <ac:spMk id="2" creationId="{62BC98DA-109E-5E78-8B7E-DA2652132CD4}"/>
          </ac:spMkLst>
        </pc:spChg>
        <pc:spChg chg="mod">
          <ac:chgData name="Motin, Boris" userId="bb86313e-37f2-46c4-9c6c-fa8290388e6f" providerId="ADAL" clId="{C28E56C0-129A-49D1-BE09-8438CF1D8646}" dt="2024-07-04T07:05:24.432" v="5062" actId="1076"/>
          <ac:spMkLst>
            <pc:docMk/>
            <pc:sldMk cId="2644689681" sldId="460"/>
            <ac:spMk id="3" creationId="{00000000-0000-0000-0000-000000000000}"/>
          </ac:spMkLst>
        </pc:spChg>
        <pc:spChg chg="add mod">
          <ac:chgData name="Motin, Boris" userId="bb86313e-37f2-46c4-9c6c-fa8290388e6f" providerId="ADAL" clId="{C28E56C0-129A-49D1-BE09-8438CF1D8646}" dt="2024-06-26T16:17:16.115" v="677" actId="207"/>
          <ac:spMkLst>
            <pc:docMk/>
            <pc:sldMk cId="2644689681" sldId="460"/>
            <ac:spMk id="6" creationId="{6E41B80B-D7D2-4665-02FF-1439A9D38B37}"/>
          </ac:spMkLst>
        </pc:spChg>
        <pc:spChg chg="add mod">
          <ac:chgData name="Motin, Boris" userId="bb86313e-37f2-46c4-9c6c-fa8290388e6f" providerId="ADAL" clId="{C28E56C0-129A-49D1-BE09-8438CF1D8646}" dt="2024-07-04T04:22:32.626" v="3595" actId="20577"/>
          <ac:spMkLst>
            <pc:docMk/>
            <pc:sldMk cId="2644689681" sldId="460"/>
            <ac:spMk id="7" creationId="{3F8FC4B6-A32D-2AFC-B6ED-8917CF331A10}"/>
          </ac:spMkLst>
        </pc:spChg>
        <pc:spChg chg="mod">
          <ac:chgData name="Motin, Boris" userId="bb86313e-37f2-46c4-9c6c-fa8290388e6f" providerId="ADAL" clId="{C28E56C0-129A-49D1-BE09-8438CF1D8646}" dt="2024-07-04T04:21:41.492" v="3583" actId="20577"/>
          <ac:spMkLst>
            <pc:docMk/>
            <pc:sldMk cId="2644689681" sldId="460"/>
            <ac:spMk id="8" creationId="{EAE6F824-4D87-4450-95DD-E5943763DC9A}"/>
          </ac:spMkLst>
        </pc:spChg>
        <pc:spChg chg="add mod">
          <ac:chgData name="Motin, Boris" userId="bb86313e-37f2-46c4-9c6c-fa8290388e6f" providerId="ADAL" clId="{C28E56C0-129A-49D1-BE09-8438CF1D8646}" dt="2024-07-04T06:36:10.946" v="4882" actId="1076"/>
          <ac:spMkLst>
            <pc:docMk/>
            <pc:sldMk cId="2644689681" sldId="460"/>
            <ac:spMk id="9" creationId="{A62BE397-20A8-6026-50DE-82E37B8C2819}"/>
          </ac:spMkLst>
        </pc:spChg>
        <pc:spChg chg="add mod">
          <ac:chgData name="Motin, Boris" userId="bb86313e-37f2-46c4-9c6c-fa8290388e6f" providerId="ADAL" clId="{C28E56C0-129A-49D1-BE09-8438CF1D8646}" dt="2024-06-26T16:34:14.560" v="1139" actId="207"/>
          <ac:spMkLst>
            <pc:docMk/>
            <pc:sldMk cId="2644689681" sldId="460"/>
            <ac:spMk id="10" creationId="{8BDCCBCB-DA4A-748C-EC6E-380AE1A2373E}"/>
          </ac:spMkLst>
        </pc:spChg>
        <pc:picChg chg="add mod ord">
          <ac:chgData name="Motin, Boris" userId="bb86313e-37f2-46c4-9c6c-fa8290388e6f" providerId="ADAL" clId="{C28E56C0-129A-49D1-BE09-8438CF1D8646}" dt="2024-07-04T06:56:31.255" v="4959" actId="14100"/>
          <ac:picMkLst>
            <pc:docMk/>
            <pc:sldMk cId="2644689681" sldId="460"/>
            <ac:picMk id="5" creationId="{87A0D1EE-FC0A-0BAB-C189-FCF3C100D5FB}"/>
          </ac:picMkLst>
        </pc:picChg>
        <pc:picChg chg="del">
          <ac:chgData name="Motin, Boris" userId="bb86313e-37f2-46c4-9c6c-fa8290388e6f" providerId="ADAL" clId="{C28E56C0-129A-49D1-BE09-8438CF1D8646}" dt="2024-06-26T16:14:21.702" v="593" actId="478"/>
          <ac:picMkLst>
            <pc:docMk/>
            <pc:sldMk cId="2644689681" sldId="460"/>
            <ac:picMk id="5" creationId="{9468ECC8-D2A9-9ED6-0042-5724D7F520A7}"/>
          </ac:picMkLst>
        </pc:picChg>
      </pc:sldChg>
      <pc:sldChg chg="addSp delSp modSp add mod">
        <pc:chgData name="Motin, Boris" userId="bb86313e-37f2-46c4-9c6c-fa8290388e6f" providerId="ADAL" clId="{C28E56C0-129A-49D1-BE09-8438CF1D8646}" dt="2024-07-04T06:57:02.520" v="4960" actId="255"/>
        <pc:sldMkLst>
          <pc:docMk/>
          <pc:sldMk cId="1053850645" sldId="461"/>
        </pc:sldMkLst>
        <pc:spChg chg="mod">
          <ac:chgData name="Motin, Boris" userId="bb86313e-37f2-46c4-9c6c-fa8290388e6f" providerId="ADAL" clId="{C28E56C0-129A-49D1-BE09-8438CF1D8646}" dt="2024-07-04T01:10:59.438" v="2682" actId="20577"/>
          <ac:spMkLst>
            <pc:docMk/>
            <pc:sldMk cId="1053850645" sldId="461"/>
            <ac:spMk id="3" creationId="{00000000-0000-0000-0000-000000000000}"/>
          </ac:spMkLst>
        </pc:spChg>
        <pc:spChg chg="add mod">
          <ac:chgData name="Motin, Boris" userId="bb86313e-37f2-46c4-9c6c-fa8290388e6f" providerId="ADAL" clId="{C28E56C0-129A-49D1-BE09-8438CF1D8646}" dt="2024-06-26T16:38:34.562" v="1175" actId="1076"/>
          <ac:spMkLst>
            <pc:docMk/>
            <pc:sldMk cId="1053850645" sldId="461"/>
            <ac:spMk id="5" creationId="{A6BE1A71-CF95-12B2-0F8F-A3AFCEEC5AAB}"/>
          </ac:spMkLst>
        </pc:spChg>
        <pc:spChg chg="del">
          <ac:chgData name="Motin, Boris" userId="bb86313e-37f2-46c4-9c6c-fa8290388e6f" providerId="ADAL" clId="{C28E56C0-129A-49D1-BE09-8438CF1D8646}" dt="2024-06-26T16:38:36.520" v="1176" actId="478"/>
          <ac:spMkLst>
            <pc:docMk/>
            <pc:sldMk cId="1053850645" sldId="461"/>
            <ac:spMk id="8" creationId="{EAE6F824-4D87-4450-95DD-E5943763DC9A}"/>
          </ac:spMkLst>
        </pc:spChg>
        <pc:spChg chg="add del mod">
          <ac:chgData name="Motin, Boris" userId="bb86313e-37f2-46c4-9c6c-fa8290388e6f" providerId="ADAL" clId="{C28E56C0-129A-49D1-BE09-8438CF1D8646}" dt="2024-06-26T16:38:41.944" v="1178" actId="478"/>
          <ac:spMkLst>
            <pc:docMk/>
            <pc:sldMk cId="1053850645" sldId="461"/>
            <ac:spMk id="9" creationId="{9159A867-E022-1FB9-9ED4-6AE1AECEE105}"/>
          </ac:spMkLst>
        </pc:spChg>
        <pc:graphicFrameChg chg="add mod modGraphic">
          <ac:chgData name="Motin, Boris" userId="bb86313e-37f2-46c4-9c6c-fa8290388e6f" providerId="ADAL" clId="{C28E56C0-129A-49D1-BE09-8438CF1D8646}" dt="2024-07-04T06:57:02.520" v="4960" actId="255"/>
          <ac:graphicFrameMkLst>
            <pc:docMk/>
            <pc:sldMk cId="1053850645" sldId="461"/>
            <ac:graphicFrameMk id="2" creationId="{BC2C60BE-39E5-2800-38CB-72D17EC38918}"/>
          </ac:graphicFrameMkLst>
        </pc:graphicFrameChg>
        <pc:picChg chg="del">
          <ac:chgData name="Motin, Boris" userId="bb86313e-37f2-46c4-9c6c-fa8290388e6f" providerId="ADAL" clId="{C28E56C0-129A-49D1-BE09-8438CF1D8646}" dt="2024-06-26T16:38:16.229" v="1173" actId="478"/>
          <ac:picMkLst>
            <pc:docMk/>
            <pc:sldMk cId="1053850645" sldId="461"/>
            <ac:picMk id="6" creationId="{3D061EDE-C243-6372-17DF-D5C8BD82D3D6}"/>
          </ac:picMkLst>
        </pc:picChg>
        <pc:picChg chg="add mod">
          <ac:chgData name="Motin, Boris" userId="bb86313e-37f2-46c4-9c6c-fa8290388e6f" providerId="ADAL" clId="{C28E56C0-129A-49D1-BE09-8438CF1D8646}" dt="2024-07-04T06:50:33.634" v="4958" actId="14100"/>
          <ac:picMkLst>
            <pc:docMk/>
            <pc:sldMk cId="1053850645" sldId="461"/>
            <ac:picMk id="6" creationId="{823AE971-2276-CDCF-F4A2-B2AECB6CF951}"/>
          </ac:picMkLst>
        </pc:picChg>
        <pc:picChg chg="add mod">
          <ac:chgData name="Motin, Boris" userId="bb86313e-37f2-46c4-9c6c-fa8290388e6f" providerId="ADAL" clId="{C28E56C0-129A-49D1-BE09-8438CF1D8646}" dt="2024-07-04T06:50:27.353" v="4957" actId="14100"/>
          <ac:picMkLst>
            <pc:docMk/>
            <pc:sldMk cId="1053850645" sldId="461"/>
            <ac:picMk id="10" creationId="{98FDB8A1-E37F-C4F6-88E7-83687FE2175E}"/>
          </ac:picMkLst>
        </pc:picChg>
        <pc:picChg chg="add del mod">
          <ac:chgData name="Motin, Boris" userId="bb86313e-37f2-46c4-9c6c-fa8290388e6f" providerId="ADAL" clId="{C28E56C0-129A-49D1-BE09-8438CF1D8646}" dt="2024-07-04T02:00:17.578" v="3198" actId="478"/>
          <ac:picMkLst>
            <pc:docMk/>
            <pc:sldMk cId="1053850645" sldId="461"/>
            <ac:picMk id="11" creationId="{7BDCFD69-2B62-7552-0B9F-83BF38C03D05}"/>
          </ac:picMkLst>
        </pc:picChg>
      </pc:sldChg>
      <pc:sldChg chg="addSp delSp modSp add mod">
        <pc:chgData name="Motin, Boris" userId="bb86313e-37f2-46c4-9c6c-fa8290388e6f" providerId="ADAL" clId="{C28E56C0-129A-49D1-BE09-8438CF1D8646}" dt="2024-07-04T07:07:23.797" v="5075" actId="1076"/>
        <pc:sldMkLst>
          <pc:docMk/>
          <pc:sldMk cId="3736111447" sldId="462"/>
        </pc:sldMkLst>
        <pc:spChg chg="mod">
          <ac:chgData name="Motin, Boris" userId="bb86313e-37f2-46c4-9c6c-fa8290388e6f" providerId="ADAL" clId="{C28E56C0-129A-49D1-BE09-8438CF1D8646}" dt="2024-07-04T07:07:23.797" v="5075" actId="1076"/>
          <ac:spMkLst>
            <pc:docMk/>
            <pc:sldMk cId="3736111447" sldId="462"/>
            <ac:spMk id="3" creationId="{00000000-0000-0000-0000-000000000000}"/>
          </ac:spMkLst>
        </pc:spChg>
        <pc:spChg chg="add del mod">
          <ac:chgData name="Motin, Boris" userId="bb86313e-37f2-46c4-9c6c-fa8290388e6f" providerId="ADAL" clId="{C28E56C0-129A-49D1-BE09-8438CF1D8646}" dt="2024-06-26T16:47:08.786" v="1223" actId="478"/>
          <ac:spMkLst>
            <pc:docMk/>
            <pc:sldMk cId="3736111447" sldId="462"/>
            <ac:spMk id="5" creationId="{83459BD3-E0AB-49F3-2A33-BD145AA6D4A9}"/>
          </ac:spMkLst>
        </pc:spChg>
        <pc:spChg chg="del">
          <ac:chgData name="Motin, Boris" userId="bb86313e-37f2-46c4-9c6c-fa8290388e6f" providerId="ADAL" clId="{C28E56C0-129A-49D1-BE09-8438CF1D8646}" dt="2024-06-26T16:47:14.254" v="1225" actId="478"/>
          <ac:spMkLst>
            <pc:docMk/>
            <pc:sldMk cId="3736111447" sldId="462"/>
            <ac:spMk id="6" creationId="{6E41B80B-D7D2-4665-02FF-1439A9D38B37}"/>
          </ac:spMkLst>
        </pc:spChg>
        <pc:spChg chg="del">
          <ac:chgData name="Motin, Boris" userId="bb86313e-37f2-46c4-9c6c-fa8290388e6f" providerId="ADAL" clId="{C28E56C0-129A-49D1-BE09-8438CF1D8646}" dt="2024-06-26T16:47:05.963" v="1222" actId="478"/>
          <ac:spMkLst>
            <pc:docMk/>
            <pc:sldMk cId="3736111447" sldId="462"/>
            <ac:spMk id="7" creationId="{3F8FC4B6-A32D-2AFC-B6ED-8917CF331A10}"/>
          </ac:spMkLst>
        </pc:spChg>
        <pc:spChg chg="del">
          <ac:chgData name="Motin, Boris" userId="bb86313e-37f2-46c4-9c6c-fa8290388e6f" providerId="ADAL" clId="{C28E56C0-129A-49D1-BE09-8438CF1D8646}" dt="2024-06-26T16:47:03.892" v="1221" actId="478"/>
          <ac:spMkLst>
            <pc:docMk/>
            <pc:sldMk cId="3736111447" sldId="462"/>
            <ac:spMk id="8" creationId="{EAE6F824-4D87-4450-95DD-E5943763DC9A}"/>
          </ac:spMkLst>
        </pc:spChg>
        <pc:spChg chg="mod">
          <ac:chgData name="Motin, Boris" userId="bb86313e-37f2-46c4-9c6c-fa8290388e6f" providerId="ADAL" clId="{C28E56C0-129A-49D1-BE09-8438CF1D8646}" dt="2024-07-04T04:34:27.824" v="3800" actId="20577"/>
          <ac:spMkLst>
            <pc:docMk/>
            <pc:sldMk cId="3736111447" sldId="462"/>
            <ac:spMk id="9" creationId="{A62BE397-20A8-6026-50DE-82E37B8C2819}"/>
          </ac:spMkLst>
        </pc:spChg>
        <pc:spChg chg="del">
          <ac:chgData name="Motin, Boris" userId="bb86313e-37f2-46c4-9c6c-fa8290388e6f" providerId="ADAL" clId="{C28E56C0-129A-49D1-BE09-8438CF1D8646}" dt="2024-06-26T16:47:12.550" v="1224" actId="478"/>
          <ac:spMkLst>
            <pc:docMk/>
            <pc:sldMk cId="3736111447" sldId="462"/>
            <ac:spMk id="10" creationId="{8BDCCBCB-DA4A-748C-EC6E-380AE1A2373E}"/>
          </ac:spMkLst>
        </pc:spChg>
        <pc:picChg chg="add mod">
          <ac:chgData name="Motin, Boris" userId="bb86313e-37f2-46c4-9c6c-fa8290388e6f" providerId="ADAL" clId="{C28E56C0-129A-49D1-BE09-8438CF1D8646}" dt="2024-07-04T07:06:28.881" v="5069" actId="1076"/>
          <ac:picMkLst>
            <pc:docMk/>
            <pc:sldMk cId="3736111447" sldId="462"/>
            <ac:picMk id="2" creationId="{6029040E-B90E-F9C3-CC09-3F5D59BD1D88}"/>
          </ac:picMkLst>
        </pc:picChg>
      </pc:sldChg>
      <pc:sldChg chg="modSp add mod">
        <pc:chgData name="Motin, Boris" userId="bb86313e-37f2-46c4-9c6c-fa8290388e6f" providerId="ADAL" clId="{C28E56C0-129A-49D1-BE09-8438CF1D8646}" dt="2024-07-04T06:58:48.316" v="5009" actId="313"/>
        <pc:sldMkLst>
          <pc:docMk/>
          <pc:sldMk cId="1113696181" sldId="463"/>
        </pc:sldMkLst>
        <pc:spChg chg="mod">
          <ac:chgData name="Motin, Boris" userId="bb86313e-37f2-46c4-9c6c-fa8290388e6f" providerId="ADAL" clId="{C28E56C0-129A-49D1-BE09-8438CF1D8646}" dt="2024-07-04T01:13:39.755" v="2724" actId="20577"/>
          <ac:spMkLst>
            <pc:docMk/>
            <pc:sldMk cId="1113696181" sldId="463"/>
            <ac:spMk id="3" creationId="{00000000-0000-0000-0000-000000000000}"/>
          </ac:spMkLst>
        </pc:spChg>
        <pc:spChg chg="mod">
          <ac:chgData name="Motin, Boris" userId="bb86313e-37f2-46c4-9c6c-fa8290388e6f" providerId="ADAL" clId="{C28E56C0-129A-49D1-BE09-8438CF1D8646}" dt="2024-07-04T06:58:48.316" v="5009" actId="313"/>
          <ac:spMkLst>
            <pc:docMk/>
            <pc:sldMk cId="1113696181" sldId="463"/>
            <ac:spMk id="8" creationId="{EAE6F824-4D87-4450-95DD-E5943763DC9A}"/>
          </ac:spMkLst>
        </pc:spChg>
        <pc:picChg chg="mod">
          <ac:chgData name="Motin, Boris" userId="bb86313e-37f2-46c4-9c6c-fa8290388e6f" providerId="ADAL" clId="{C28E56C0-129A-49D1-BE09-8438CF1D8646}" dt="2024-07-04T04:35:18.613" v="3846" actId="1076"/>
          <ac:picMkLst>
            <pc:docMk/>
            <pc:sldMk cId="1113696181" sldId="463"/>
            <ac:picMk id="7" creationId="{B8A15E20-4EEE-2876-1DE9-E1D89C45A780}"/>
          </ac:picMkLst>
        </pc:picChg>
      </pc:sldChg>
      <pc:sldChg chg="add del">
        <pc:chgData name="Motin, Boris" userId="bb86313e-37f2-46c4-9c6c-fa8290388e6f" providerId="ADAL" clId="{C28E56C0-129A-49D1-BE09-8438CF1D8646}" dt="2024-06-26T16:53:22.479" v="1329" actId="47"/>
        <pc:sldMkLst>
          <pc:docMk/>
          <pc:sldMk cId="2870978934" sldId="463"/>
        </pc:sldMkLst>
      </pc:sldChg>
      <pc:sldChg chg="addSp delSp modSp mod">
        <pc:chgData name="Motin, Boris" userId="bb86313e-37f2-46c4-9c6c-fa8290388e6f" providerId="ADAL" clId="{C28E56C0-129A-49D1-BE09-8438CF1D8646}" dt="2024-07-04T01:15:02.073" v="2743" actId="20577"/>
        <pc:sldMkLst>
          <pc:docMk/>
          <pc:sldMk cId="4136976142" sldId="464"/>
        </pc:sldMkLst>
        <pc:spChg chg="mod">
          <ac:chgData name="Motin, Boris" userId="bb86313e-37f2-46c4-9c6c-fa8290388e6f" providerId="ADAL" clId="{C28E56C0-129A-49D1-BE09-8438CF1D8646}" dt="2024-07-04T01:15:02.073" v="2743" actId="20577"/>
          <ac:spMkLst>
            <pc:docMk/>
            <pc:sldMk cId="4136976142" sldId="464"/>
            <ac:spMk id="3" creationId="{00000000-0000-0000-0000-000000000000}"/>
          </ac:spMkLst>
        </pc:spChg>
        <pc:picChg chg="add mod">
          <ac:chgData name="Motin, Boris" userId="bb86313e-37f2-46c4-9c6c-fa8290388e6f" providerId="ADAL" clId="{C28E56C0-129A-49D1-BE09-8438CF1D8646}" dt="2024-06-26T17:00:15.448" v="1333" actId="1076"/>
          <ac:picMkLst>
            <pc:docMk/>
            <pc:sldMk cId="4136976142" sldId="464"/>
            <ac:picMk id="2" creationId="{3C0404CD-8F95-DDC1-8978-958F2CA54237}"/>
          </ac:picMkLst>
        </pc:picChg>
        <pc:picChg chg="del">
          <ac:chgData name="Motin, Boris" userId="bb86313e-37f2-46c4-9c6c-fa8290388e6f" providerId="ADAL" clId="{C28E56C0-129A-49D1-BE09-8438CF1D8646}" dt="2024-06-26T16:57:39.538" v="1331" actId="478"/>
          <ac:picMkLst>
            <pc:docMk/>
            <pc:sldMk cId="4136976142" sldId="464"/>
            <ac:picMk id="7" creationId="{CF942793-0E4B-9D11-05D9-E8ED6BB0C314}"/>
          </ac:picMkLst>
        </pc:picChg>
      </pc:sldChg>
      <pc:sldChg chg="addSp delSp modSp mod">
        <pc:chgData name="Motin, Boris" userId="bb86313e-37f2-46c4-9c6c-fa8290388e6f" providerId="ADAL" clId="{C28E56C0-129A-49D1-BE09-8438CF1D8646}" dt="2024-07-04T01:15:10.716" v="2757" actId="20577"/>
        <pc:sldMkLst>
          <pc:docMk/>
          <pc:sldMk cId="3239135990" sldId="465"/>
        </pc:sldMkLst>
        <pc:spChg chg="mod">
          <ac:chgData name="Motin, Boris" userId="bb86313e-37f2-46c4-9c6c-fa8290388e6f" providerId="ADAL" clId="{C28E56C0-129A-49D1-BE09-8438CF1D8646}" dt="2024-07-04T01:15:10.716" v="2757" actId="20577"/>
          <ac:spMkLst>
            <pc:docMk/>
            <pc:sldMk cId="3239135990" sldId="465"/>
            <ac:spMk id="3" creationId="{00000000-0000-0000-0000-000000000000}"/>
          </ac:spMkLst>
        </pc:spChg>
        <pc:spChg chg="add del mod">
          <ac:chgData name="Motin, Boris" userId="bb86313e-37f2-46c4-9c6c-fa8290388e6f" providerId="ADAL" clId="{C28E56C0-129A-49D1-BE09-8438CF1D8646}" dt="2024-06-26T17:01:01.571" v="1337" actId="478"/>
          <ac:spMkLst>
            <pc:docMk/>
            <pc:sldMk cId="3239135990" sldId="465"/>
            <ac:spMk id="5" creationId="{094B3579-33EB-5F3F-72BA-E36980EBF360}"/>
          </ac:spMkLst>
        </pc:spChg>
        <pc:spChg chg="del">
          <ac:chgData name="Motin, Boris" userId="bb86313e-37f2-46c4-9c6c-fa8290388e6f" providerId="ADAL" clId="{C28E56C0-129A-49D1-BE09-8438CF1D8646}" dt="2024-06-26T17:00:58.581" v="1336" actId="478"/>
          <ac:spMkLst>
            <pc:docMk/>
            <pc:sldMk cId="3239135990" sldId="465"/>
            <ac:spMk id="8" creationId="{EAE6F824-4D87-4450-95DD-E5943763DC9A}"/>
          </ac:spMkLst>
        </pc:spChg>
        <pc:picChg chg="add mod">
          <ac:chgData name="Motin, Boris" userId="bb86313e-37f2-46c4-9c6c-fa8290388e6f" providerId="ADAL" clId="{C28E56C0-129A-49D1-BE09-8438CF1D8646}" dt="2024-06-26T17:01:50.679" v="1340" actId="14100"/>
          <ac:picMkLst>
            <pc:docMk/>
            <pc:sldMk cId="3239135990" sldId="465"/>
            <ac:picMk id="6" creationId="{5EEB03DA-BAC9-27D9-4ACA-D3C224E4CB5D}"/>
          </ac:picMkLst>
        </pc:picChg>
        <pc:picChg chg="mod">
          <ac:chgData name="Motin, Boris" userId="bb86313e-37f2-46c4-9c6c-fa8290388e6f" providerId="ADAL" clId="{C28E56C0-129A-49D1-BE09-8438CF1D8646}" dt="2024-06-26T17:01:55.120" v="1342" actId="14100"/>
          <ac:picMkLst>
            <pc:docMk/>
            <pc:sldMk cId="3239135990" sldId="465"/>
            <ac:picMk id="9" creationId="{15869628-02D0-CD11-C6EC-3E0206B6150B}"/>
          </ac:picMkLst>
        </pc:picChg>
      </pc:sldChg>
      <pc:sldChg chg="modSp mod">
        <pc:chgData name="Motin, Boris" userId="bb86313e-37f2-46c4-9c6c-fa8290388e6f" providerId="ADAL" clId="{C28E56C0-129A-49D1-BE09-8438CF1D8646}" dt="2024-07-04T04:11:55.676" v="3364" actId="5793"/>
        <pc:sldMkLst>
          <pc:docMk/>
          <pc:sldMk cId="4074461949" sldId="466"/>
        </pc:sldMkLst>
        <pc:spChg chg="mod">
          <ac:chgData name="Motin, Boris" userId="bb86313e-37f2-46c4-9c6c-fa8290388e6f" providerId="ADAL" clId="{C28E56C0-129A-49D1-BE09-8438CF1D8646}" dt="2024-07-04T01:15:39.575" v="2789" actId="20577"/>
          <ac:spMkLst>
            <pc:docMk/>
            <pc:sldMk cId="4074461949" sldId="466"/>
            <ac:spMk id="3" creationId="{00000000-0000-0000-0000-000000000000}"/>
          </ac:spMkLst>
        </pc:spChg>
        <pc:spChg chg="mod">
          <ac:chgData name="Motin, Boris" userId="bb86313e-37f2-46c4-9c6c-fa8290388e6f" providerId="ADAL" clId="{C28E56C0-129A-49D1-BE09-8438CF1D8646}" dt="2024-07-04T04:11:55.676" v="3364" actId="5793"/>
          <ac:spMkLst>
            <pc:docMk/>
            <pc:sldMk cId="4074461949" sldId="466"/>
            <ac:spMk id="8" creationId="{EAE6F824-4D87-4450-95DD-E5943763DC9A}"/>
          </ac:spMkLst>
        </pc:spChg>
      </pc:sldChg>
      <pc:sldChg chg="modSp mod">
        <pc:chgData name="Motin, Boris" userId="bb86313e-37f2-46c4-9c6c-fa8290388e6f" providerId="ADAL" clId="{C28E56C0-129A-49D1-BE09-8438CF1D8646}" dt="2024-07-04T04:37:39.541" v="3849" actId="1076"/>
        <pc:sldMkLst>
          <pc:docMk/>
          <pc:sldMk cId="721388932" sldId="467"/>
        </pc:sldMkLst>
        <pc:picChg chg="mod">
          <ac:chgData name="Motin, Boris" userId="bb86313e-37f2-46c4-9c6c-fa8290388e6f" providerId="ADAL" clId="{C28E56C0-129A-49D1-BE09-8438CF1D8646}" dt="2024-07-04T04:37:39.541" v="3849" actId="1076"/>
          <ac:picMkLst>
            <pc:docMk/>
            <pc:sldMk cId="721388932" sldId="467"/>
            <ac:picMk id="2" creationId="{A371CDF3-3B23-D589-9D3A-41361EC66B6B}"/>
          </ac:picMkLst>
        </pc:picChg>
      </pc:sldChg>
      <pc:sldChg chg="addSp delSp modSp mod">
        <pc:chgData name="Motin, Boris" userId="bb86313e-37f2-46c4-9c6c-fa8290388e6f" providerId="ADAL" clId="{C28E56C0-129A-49D1-BE09-8438CF1D8646}" dt="2024-07-04T07:04:00.870" v="5061" actId="1076"/>
        <pc:sldMkLst>
          <pc:docMk/>
          <pc:sldMk cId="65427069" sldId="468"/>
        </pc:sldMkLst>
        <pc:spChg chg="mod">
          <ac:chgData name="Motin, Boris" userId="bb86313e-37f2-46c4-9c6c-fa8290388e6f" providerId="ADAL" clId="{C28E56C0-129A-49D1-BE09-8438CF1D8646}" dt="2024-07-04T07:04:00.870" v="5061" actId="1076"/>
          <ac:spMkLst>
            <pc:docMk/>
            <pc:sldMk cId="65427069" sldId="468"/>
            <ac:spMk id="3" creationId="{00000000-0000-0000-0000-000000000000}"/>
          </ac:spMkLst>
        </pc:spChg>
        <pc:spChg chg="del">
          <ac:chgData name="Motin, Boris" userId="bb86313e-37f2-46c4-9c6c-fa8290388e6f" providerId="ADAL" clId="{C28E56C0-129A-49D1-BE09-8438CF1D8646}" dt="2024-06-26T17:03:36.233" v="1426" actId="478"/>
          <ac:spMkLst>
            <pc:docMk/>
            <pc:sldMk cId="65427069" sldId="468"/>
            <ac:spMk id="6" creationId="{6E41B80B-D7D2-4665-02FF-1439A9D38B37}"/>
          </ac:spMkLst>
        </pc:spChg>
        <pc:spChg chg="mod">
          <ac:chgData name="Motin, Boris" userId="bb86313e-37f2-46c4-9c6c-fa8290388e6f" providerId="ADAL" clId="{C28E56C0-129A-49D1-BE09-8438CF1D8646}" dt="2024-06-26T17:05:22.126" v="1585" actId="14100"/>
          <ac:spMkLst>
            <pc:docMk/>
            <pc:sldMk cId="65427069" sldId="468"/>
            <ac:spMk id="7" creationId="{3F8FC4B6-A32D-2AFC-B6ED-8917CF331A10}"/>
          </ac:spMkLst>
        </pc:spChg>
        <pc:spChg chg="mod">
          <ac:chgData name="Motin, Boris" userId="bb86313e-37f2-46c4-9c6c-fa8290388e6f" providerId="ADAL" clId="{C28E56C0-129A-49D1-BE09-8438CF1D8646}" dt="2024-06-26T17:05:07.355" v="1583" actId="14100"/>
          <ac:spMkLst>
            <pc:docMk/>
            <pc:sldMk cId="65427069" sldId="468"/>
            <ac:spMk id="8" creationId="{EAE6F824-4D87-4450-95DD-E5943763DC9A}"/>
          </ac:spMkLst>
        </pc:spChg>
        <pc:spChg chg="mod">
          <ac:chgData name="Motin, Boris" userId="bb86313e-37f2-46c4-9c6c-fa8290388e6f" providerId="ADAL" clId="{C28E56C0-129A-49D1-BE09-8438CF1D8646}" dt="2024-07-04T04:47:14.170" v="3931" actId="20577"/>
          <ac:spMkLst>
            <pc:docMk/>
            <pc:sldMk cId="65427069" sldId="468"/>
            <ac:spMk id="9" creationId="{A62BE397-20A8-6026-50DE-82E37B8C2819}"/>
          </ac:spMkLst>
        </pc:spChg>
        <pc:spChg chg="del">
          <ac:chgData name="Motin, Boris" userId="bb86313e-37f2-46c4-9c6c-fa8290388e6f" providerId="ADAL" clId="{C28E56C0-129A-49D1-BE09-8438CF1D8646}" dt="2024-06-26T17:04:07.882" v="1474" actId="478"/>
          <ac:spMkLst>
            <pc:docMk/>
            <pc:sldMk cId="65427069" sldId="468"/>
            <ac:spMk id="10" creationId="{8BDCCBCB-DA4A-748C-EC6E-380AE1A2373E}"/>
          </ac:spMkLst>
        </pc:spChg>
        <pc:picChg chg="add mod">
          <ac:chgData name="Motin, Boris" userId="bb86313e-37f2-46c4-9c6c-fa8290388e6f" providerId="ADAL" clId="{C28E56C0-129A-49D1-BE09-8438CF1D8646}" dt="2024-07-04T07:03:08.613" v="5058" actId="1076"/>
          <ac:picMkLst>
            <pc:docMk/>
            <pc:sldMk cId="65427069" sldId="468"/>
            <ac:picMk id="2" creationId="{C71AFF83-C218-A675-1D78-3E3E61983983}"/>
          </ac:picMkLst>
        </pc:picChg>
      </pc:sldChg>
      <pc:sldChg chg="modSp mod">
        <pc:chgData name="Motin, Boris" userId="bb86313e-37f2-46c4-9c6c-fa8290388e6f" providerId="ADAL" clId="{C28E56C0-129A-49D1-BE09-8438CF1D8646}" dt="2024-07-04T04:48:47.488" v="3967" actId="20577"/>
        <pc:sldMkLst>
          <pc:docMk/>
          <pc:sldMk cId="1382527590" sldId="469"/>
        </pc:sldMkLst>
        <pc:spChg chg="mod">
          <ac:chgData name="Motin, Boris" userId="bb86313e-37f2-46c4-9c6c-fa8290388e6f" providerId="ADAL" clId="{C28E56C0-129A-49D1-BE09-8438CF1D8646}" dt="2024-07-04T04:48:47.488" v="3967" actId="20577"/>
          <ac:spMkLst>
            <pc:docMk/>
            <pc:sldMk cId="1382527590" sldId="469"/>
            <ac:spMk id="3" creationId="{00000000-0000-0000-0000-000000000000}"/>
          </ac:spMkLst>
        </pc:spChg>
      </pc:sldChg>
      <pc:sldChg chg="addSp modSp add mod">
        <pc:chgData name="Motin, Boris" userId="bb86313e-37f2-46c4-9c6c-fa8290388e6f" providerId="ADAL" clId="{C28E56C0-129A-49D1-BE09-8438CF1D8646}" dt="2024-07-04T04:49:05.475" v="3981" actId="20577"/>
        <pc:sldMkLst>
          <pc:docMk/>
          <pc:sldMk cId="3961298400" sldId="470"/>
        </pc:sldMkLst>
        <pc:spChg chg="mod">
          <ac:chgData name="Motin, Boris" userId="bb86313e-37f2-46c4-9c6c-fa8290388e6f" providerId="ADAL" clId="{C28E56C0-129A-49D1-BE09-8438CF1D8646}" dt="2024-07-04T04:49:05.475" v="3981" actId="20577"/>
          <ac:spMkLst>
            <pc:docMk/>
            <pc:sldMk cId="3961298400" sldId="470"/>
            <ac:spMk id="3" creationId="{00000000-0000-0000-0000-000000000000}"/>
          </ac:spMkLst>
        </pc:spChg>
        <pc:spChg chg="mod">
          <ac:chgData name="Motin, Boris" userId="bb86313e-37f2-46c4-9c6c-fa8290388e6f" providerId="ADAL" clId="{C28E56C0-129A-49D1-BE09-8438CF1D8646}" dt="2024-07-04T04:14:32.422" v="3497" actId="1076"/>
          <ac:spMkLst>
            <pc:docMk/>
            <pc:sldMk cId="3961298400" sldId="470"/>
            <ac:spMk id="8" creationId="{EAE6F824-4D87-4450-95DD-E5943763DC9A}"/>
          </ac:spMkLst>
        </pc:spChg>
        <pc:picChg chg="add mod">
          <ac:chgData name="Motin, Boris" userId="bb86313e-37f2-46c4-9c6c-fa8290388e6f" providerId="ADAL" clId="{C28E56C0-129A-49D1-BE09-8438CF1D8646}" dt="2024-07-04T04:14:21.219" v="3496" actId="14100"/>
          <ac:picMkLst>
            <pc:docMk/>
            <pc:sldMk cId="3961298400" sldId="470"/>
            <ac:picMk id="2" creationId="{3862DA63-4CFB-04F8-2CC7-77F134472A9C}"/>
          </ac:picMkLst>
        </pc:picChg>
        <pc:picChg chg="mod">
          <ac:chgData name="Motin, Boris" userId="bb86313e-37f2-46c4-9c6c-fa8290388e6f" providerId="ADAL" clId="{C28E56C0-129A-49D1-BE09-8438CF1D8646}" dt="2024-06-28T09:54:00.832" v="2303" actId="1076"/>
          <ac:picMkLst>
            <pc:docMk/>
            <pc:sldMk cId="3961298400" sldId="470"/>
            <ac:picMk id="6" creationId="{D66263D0-466C-B844-0213-C3766AE008D0}"/>
          </ac:picMkLst>
        </pc:picChg>
      </pc:sldChg>
      <pc:sldChg chg="add del">
        <pc:chgData name="Motin, Boris" userId="bb86313e-37f2-46c4-9c6c-fa8290388e6f" providerId="ADAL" clId="{C28E56C0-129A-49D1-BE09-8438CF1D8646}" dt="2024-07-04T04:14:44.016" v="3498" actId="2696"/>
        <pc:sldMkLst>
          <pc:docMk/>
          <pc:sldMk cId="810456703" sldId="471"/>
        </pc:sldMkLst>
      </pc:sldChg>
      <pc:sldChg chg="add del">
        <pc:chgData name="Motin, Boris" userId="bb86313e-37f2-46c4-9c6c-fa8290388e6f" providerId="ADAL" clId="{C28E56C0-129A-49D1-BE09-8438CF1D8646}" dt="2024-06-28T09:30:22.140" v="1875" actId="2696"/>
        <pc:sldMkLst>
          <pc:docMk/>
          <pc:sldMk cId="2506938104" sldId="472"/>
        </pc:sldMkLst>
      </pc:sldChg>
      <pc:sldChg chg="modSp add mod">
        <pc:chgData name="Motin, Boris" userId="bb86313e-37f2-46c4-9c6c-fa8290388e6f" providerId="ADAL" clId="{C28E56C0-129A-49D1-BE09-8438CF1D8646}" dt="2024-07-04T07:02:20.967" v="5033" actId="20577"/>
        <pc:sldMkLst>
          <pc:docMk/>
          <pc:sldMk cId="468455961" sldId="473"/>
        </pc:sldMkLst>
        <pc:spChg chg="mod">
          <ac:chgData name="Motin, Boris" userId="bb86313e-37f2-46c4-9c6c-fa8290388e6f" providerId="ADAL" clId="{C28E56C0-129A-49D1-BE09-8438CF1D8646}" dt="2024-07-04T07:02:20.967" v="5033" actId="20577"/>
          <ac:spMkLst>
            <pc:docMk/>
            <pc:sldMk cId="468455961" sldId="473"/>
            <ac:spMk id="3" creationId="{00000000-0000-0000-0000-000000000000}"/>
          </ac:spMkLst>
        </pc:spChg>
        <pc:picChg chg="mod">
          <ac:chgData name="Motin, Boris" userId="bb86313e-37f2-46c4-9c6c-fa8290388e6f" providerId="ADAL" clId="{C28E56C0-129A-49D1-BE09-8438CF1D8646}" dt="2024-07-04T04:50:01.236" v="3987" actId="1076"/>
          <ac:picMkLst>
            <pc:docMk/>
            <pc:sldMk cId="468455961" sldId="473"/>
            <ac:picMk id="5" creationId="{5E14487B-1E87-9682-3441-CE964E8B03BF}"/>
          </ac:picMkLst>
        </pc:picChg>
        <pc:picChg chg="mod">
          <ac:chgData name="Motin, Boris" userId="bb86313e-37f2-46c4-9c6c-fa8290388e6f" providerId="ADAL" clId="{C28E56C0-129A-49D1-BE09-8438CF1D8646}" dt="2024-07-04T04:50:11.723" v="3990" actId="14100"/>
          <ac:picMkLst>
            <pc:docMk/>
            <pc:sldMk cId="468455961" sldId="473"/>
            <ac:picMk id="14" creationId="{FDC21CBF-EE2E-1D04-02A2-CAE6DE5B4B37}"/>
          </ac:picMkLst>
        </pc:picChg>
      </pc:sldChg>
      <pc:sldChg chg="modSp add mod">
        <pc:chgData name="Motin, Boris" userId="bb86313e-37f2-46c4-9c6c-fa8290388e6f" providerId="ADAL" clId="{C28E56C0-129A-49D1-BE09-8438CF1D8646}" dt="2024-07-04T07:02:30.356" v="5056" actId="20577"/>
        <pc:sldMkLst>
          <pc:docMk/>
          <pc:sldMk cId="4011557127" sldId="474"/>
        </pc:sldMkLst>
        <pc:spChg chg="mod">
          <ac:chgData name="Motin, Boris" userId="bb86313e-37f2-46c4-9c6c-fa8290388e6f" providerId="ADAL" clId="{C28E56C0-129A-49D1-BE09-8438CF1D8646}" dt="2024-07-04T07:02:30.356" v="5056" actId="20577"/>
          <ac:spMkLst>
            <pc:docMk/>
            <pc:sldMk cId="4011557127" sldId="474"/>
            <ac:spMk id="3" creationId="{00000000-0000-0000-0000-000000000000}"/>
          </ac:spMkLst>
        </pc:spChg>
      </pc:sldChg>
      <pc:sldChg chg="addSp delSp modSp mod">
        <pc:chgData name="Motin, Boris" userId="bb86313e-37f2-46c4-9c6c-fa8290388e6f" providerId="ADAL" clId="{C28E56C0-129A-49D1-BE09-8438CF1D8646}" dt="2024-07-04T07:01:44.703" v="5010" actId="1076"/>
        <pc:sldMkLst>
          <pc:docMk/>
          <pc:sldMk cId="3207256454" sldId="475"/>
        </pc:sldMkLst>
        <pc:spChg chg="mod">
          <ac:chgData name="Motin, Boris" userId="bb86313e-37f2-46c4-9c6c-fa8290388e6f" providerId="ADAL" clId="{C28E56C0-129A-49D1-BE09-8438CF1D8646}" dt="2024-07-04T07:01:44.703" v="5010" actId="1076"/>
          <ac:spMkLst>
            <pc:docMk/>
            <pc:sldMk cId="3207256454" sldId="475"/>
            <ac:spMk id="3" creationId="{00000000-0000-0000-0000-000000000000}"/>
          </ac:spMkLst>
        </pc:spChg>
        <pc:spChg chg="add del mod">
          <ac:chgData name="Motin, Boris" userId="bb86313e-37f2-46c4-9c6c-fa8290388e6f" providerId="ADAL" clId="{C28E56C0-129A-49D1-BE09-8438CF1D8646}" dt="2024-07-04T06:37:16.864" v="4887" actId="478"/>
          <ac:spMkLst>
            <pc:docMk/>
            <pc:sldMk cId="3207256454" sldId="475"/>
            <ac:spMk id="6" creationId="{DA1C4F67-5A9D-CE99-C957-6E27CE9C17CB}"/>
          </ac:spMkLst>
        </pc:spChg>
        <pc:spChg chg="mod">
          <ac:chgData name="Motin, Boris" userId="bb86313e-37f2-46c4-9c6c-fa8290388e6f" providerId="ADAL" clId="{C28E56C0-129A-49D1-BE09-8438CF1D8646}" dt="2024-07-04T06:38:33.340" v="4917" actId="20577"/>
          <ac:spMkLst>
            <pc:docMk/>
            <pc:sldMk cId="3207256454" sldId="475"/>
            <ac:spMk id="7" creationId="{3F8FC4B6-A32D-2AFC-B6ED-8917CF331A10}"/>
          </ac:spMkLst>
        </pc:spChg>
        <pc:spChg chg="del mod">
          <ac:chgData name="Motin, Boris" userId="bb86313e-37f2-46c4-9c6c-fa8290388e6f" providerId="ADAL" clId="{C28E56C0-129A-49D1-BE09-8438CF1D8646}" dt="2024-07-04T06:37:10.470" v="4885" actId="478"/>
          <ac:spMkLst>
            <pc:docMk/>
            <pc:sldMk cId="3207256454" sldId="475"/>
            <ac:spMk id="8" creationId="{EAE6F824-4D87-4450-95DD-E5943763DC9A}"/>
          </ac:spMkLst>
        </pc:spChg>
        <pc:spChg chg="mod">
          <ac:chgData name="Motin, Boris" userId="bb86313e-37f2-46c4-9c6c-fa8290388e6f" providerId="ADAL" clId="{C28E56C0-129A-49D1-BE09-8438CF1D8646}" dt="2024-07-04T06:39:49.886" v="4955" actId="1076"/>
          <ac:spMkLst>
            <pc:docMk/>
            <pc:sldMk cId="3207256454" sldId="475"/>
            <ac:spMk id="9" creationId="{A62BE397-20A8-6026-50DE-82E37B8C2819}"/>
          </ac:spMkLst>
        </pc:spChg>
        <pc:spChg chg="add mod">
          <ac:chgData name="Motin, Boris" userId="bb86313e-37f2-46c4-9c6c-fa8290388e6f" providerId="ADAL" clId="{C28E56C0-129A-49D1-BE09-8438CF1D8646}" dt="2024-07-04T06:38:29.086" v="4914" actId="14100"/>
          <ac:spMkLst>
            <pc:docMk/>
            <pc:sldMk cId="3207256454" sldId="475"/>
            <ac:spMk id="10" creationId="{C8768646-4433-0E13-C623-61A61A007C4A}"/>
          </ac:spMkLst>
        </pc:spChg>
        <pc:picChg chg="add mod">
          <ac:chgData name="Motin, Boris" userId="bb86313e-37f2-46c4-9c6c-fa8290388e6f" providerId="ADAL" clId="{C28E56C0-129A-49D1-BE09-8438CF1D8646}" dt="2024-07-04T06:39:56.259" v="4956" actId="1076"/>
          <ac:picMkLst>
            <pc:docMk/>
            <pc:sldMk cId="3207256454" sldId="475"/>
            <ac:picMk id="2" creationId="{AC8C903B-F375-EB98-4063-3B654BF78318}"/>
          </ac:picMkLst>
        </pc:picChg>
      </pc:sldChg>
      <pc:sldChg chg="modSp mod">
        <pc:chgData name="Motin, Boris" userId="bb86313e-37f2-46c4-9c6c-fa8290388e6f" providerId="ADAL" clId="{C28E56C0-129A-49D1-BE09-8438CF1D8646}" dt="2024-07-04T04:58:23.202" v="4145" actId="20577"/>
        <pc:sldMkLst>
          <pc:docMk/>
          <pc:sldMk cId="3404663703" sldId="476"/>
        </pc:sldMkLst>
        <pc:spChg chg="mod">
          <ac:chgData name="Motin, Boris" userId="bb86313e-37f2-46c4-9c6c-fa8290388e6f" providerId="ADAL" clId="{C28E56C0-129A-49D1-BE09-8438CF1D8646}" dt="2024-07-04T04:58:23.202" v="4145" actId="20577"/>
          <ac:spMkLst>
            <pc:docMk/>
            <pc:sldMk cId="3404663703" sldId="476"/>
            <ac:spMk id="6" creationId="{D62AF418-38EF-472D-9BC7-9A61E0AFE232}"/>
          </ac:spMkLst>
        </pc:spChg>
      </pc:sldChg>
      <pc:sldChg chg="modSp del mod">
        <pc:chgData name="Motin, Boris" userId="bb86313e-37f2-46c4-9c6c-fa8290388e6f" providerId="ADAL" clId="{C28E56C0-129A-49D1-BE09-8438CF1D8646}" dt="2024-07-04T01:23:51.421" v="2806" actId="47"/>
        <pc:sldMkLst>
          <pc:docMk/>
          <pc:sldMk cId="1404334266" sldId="477"/>
        </pc:sldMkLst>
        <pc:spChg chg="mod">
          <ac:chgData name="Motin, Boris" userId="bb86313e-37f2-46c4-9c6c-fa8290388e6f" providerId="ADAL" clId="{C28E56C0-129A-49D1-BE09-8438CF1D8646}" dt="2024-07-04T01:05:10.367" v="2525" actId="1076"/>
          <ac:spMkLst>
            <pc:docMk/>
            <pc:sldMk cId="1404334266" sldId="477"/>
            <ac:spMk id="6" creationId="{00000000-0000-0000-0000-000000000000}"/>
          </ac:spMkLst>
        </pc:spChg>
      </pc:sldChg>
      <pc:sldChg chg="modSp mod">
        <pc:chgData name="Motin, Boris" userId="bb86313e-37f2-46c4-9c6c-fa8290388e6f" providerId="ADAL" clId="{C28E56C0-129A-49D1-BE09-8438CF1D8646}" dt="2024-07-04T05:14:24.738" v="4268" actId="313"/>
        <pc:sldMkLst>
          <pc:docMk/>
          <pc:sldMk cId="3969189659" sldId="477"/>
        </pc:sldMkLst>
        <pc:spChg chg="mod">
          <ac:chgData name="Motin, Boris" userId="bb86313e-37f2-46c4-9c6c-fa8290388e6f" providerId="ADAL" clId="{C28E56C0-129A-49D1-BE09-8438CF1D8646}" dt="2024-07-04T05:14:24.738" v="4268" actId="313"/>
          <ac:spMkLst>
            <pc:docMk/>
            <pc:sldMk cId="3969189659" sldId="477"/>
            <ac:spMk id="18" creationId="{0D66F4A6-1A8C-4975-A6F6-AC1B75446F8A}"/>
          </ac:spMkLst>
        </pc:spChg>
      </pc:sldChg>
      <pc:sldChg chg="add del">
        <pc:chgData name="Motin, Boris" userId="bb86313e-37f2-46c4-9c6c-fa8290388e6f" providerId="ADAL" clId="{C28E56C0-129A-49D1-BE09-8438CF1D8646}" dt="2024-07-04T06:21:39.491" v="4780"/>
        <pc:sldMkLst>
          <pc:docMk/>
          <pc:sldMk cId="2255658268" sldId="478"/>
        </pc:sldMkLst>
      </pc:sldChg>
      <pc:sldMasterChg chg="delSldLayout">
        <pc:chgData name="Motin, Boris" userId="bb86313e-37f2-46c4-9c6c-fa8290388e6f" providerId="ADAL" clId="{C28E56C0-129A-49D1-BE09-8438CF1D8646}" dt="2024-07-04T01:23:51.421" v="2806" actId="47"/>
        <pc:sldMasterMkLst>
          <pc:docMk/>
          <pc:sldMasterMk cId="3291226965" sldId="2147483648"/>
        </pc:sldMasterMkLst>
        <pc:sldLayoutChg chg="del">
          <pc:chgData name="Motin, Boris" userId="bb86313e-37f2-46c4-9c6c-fa8290388e6f" providerId="ADAL" clId="{C28E56C0-129A-49D1-BE09-8438CF1D8646}" dt="2024-07-04T01:23:51.421" v="2806" actId="47"/>
          <pc:sldLayoutMkLst>
            <pc:docMk/>
            <pc:sldMasterMk cId="3291226965" sldId="2147483648"/>
            <pc:sldLayoutMk cId="1761829946" sldId="2147483712"/>
          </pc:sldLayoutMkLst>
        </pc:sldLayoutChg>
      </pc:sldMasterChg>
    </pc:docChg>
  </pc:docChgLst>
  <pc:docChgLst>
    <pc:chgData name="Motin, Boris" userId="bb86313e-37f2-46c4-9c6c-fa8290388e6f" providerId="ADAL" clId="{A7BA99DE-FF4F-4EAC-8E83-85FBF4188B40}"/>
    <pc:docChg chg="modSld">
      <pc:chgData name="Motin, Boris" userId="bb86313e-37f2-46c4-9c6c-fa8290388e6f" providerId="ADAL" clId="{A7BA99DE-FF4F-4EAC-8E83-85FBF4188B40}" dt="2023-05-17T12:48:28.938" v="2" actId="1076"/>
      <pc:docMkLst>
        <pc:docMk/>
      </pc:docMkLst>
      <pc:sldChg chg="modSp mod">
        <pc:chgData name="Motin, Boris" userId="bb86313e-37f2-46c4-9c6c-fa8290388e6f" providerId="ADAL" clId="{A7BA99DE-FF4F-4EAC-8E83-85FBF4188B40}" dt="2023-05-17T12:48:28.938" v="2" actId="1076"/>
        <pc:sldMkLst>
          <pc:docMk/>
          <pc:sldMk cId="422759680" sldId="440"/>
        </pc:sldMkLst>
        <pc:picChg chg="mod">
          <ac:chgData name="Motin, Boris" userId="bb86313e-37f2-46c4-9c6c-fa8290388e6f" providerId="ADAL" clId="{A7BA99DE-FF4F-4EAC-8E83-85FBF4188B40}" dt="2023-05-17T12:48:28.938" v="2" actId="1076"/>
          <ac:picMkLst>
            <pc:docMk/>
            <pc:sldMk cId="422759680" sldId="440"/>
            <ac:picMk id="9" creationId="{9EDC22DD-9177-8F8D-2CA4-06AC46CFF56A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43D2950-3B15-4DDF-A059-2809455C9BA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7D00041-8452-4C76-8364-68CDCDDB35C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915A48-902D-410C-991E-E95D3089D64A}" type="datetimeFigureOut">
              <a:rPr lang="en-GB" smtClean="0"/>
              <a:t>04/07/2024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965B2A-9F56-4500-83A7-0711C522ED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07DB462-E06B-4D0D-8135-07C53E876F0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85C987-8BBE-452E-818C-76529FC3F6A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06956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0189FA1E-560B-441B-8633-A555D6EDABD2}" type="datetimeFigureOut">
              <a:rPr lang="en-GB" smtClean="0"/>
              <a:pPr/>
              <a:t>04/07/2024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648326" y="830179"/>
            <a:ext cx="3561348" cy="200325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36884" y="3056021"/>
            <a:ext cx="6184232" cy="494497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err="1"/>
              <a:t>Mastertext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Ebene</a:t>
            </a:r>
          </a:p>
          <a:p>
            <a:pPr lvl="2"/>
            <a:r>
              <a:rPr lang="en-GB" err="1"/>
              <a:t>Dritte</a:t>
            </a:r>
            <a:r>
              <a:rPr lang="en-GB"/>
              <a:t> Ebene</a:t>
            </a:r>
          </a:p>
          <a:p>
            <a:pPr lvl="3"/>
            <a:r>
              <a:rPr lang="en-GB" err="1"/>
              <a:t>Vierte</a:t>
            </a:r>
            <a:r>
              <a:rPr lang="en-GB"/>
              <a:t> Ebene</a:t>
            </a:r>
          </a:p>
          <a:p>
            <a:pPr lvl="4"/>
            <a:r>
              <a:rPr lang="en-GB" err="1"/>
              <a:t>Fünfte</a:t>
            </a:r>
            <a:r>
              <a:rPr lang="en-GB"/>
              <a:t>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4A895AC2-3CA9-45FC-897F-256207571E0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2804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tabLst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47825" y="830263"/>
            <a:ext cx="3562350" cy="20034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895AC2-3CA9-45FC-897F-256207571E0D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31817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47825" y="830263"/>
            <a:ext cx="3562350" cy="20034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895AC2-3CA9-45FC-897F-256207571E0D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99630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47825" y="830263"/>
            <a:ext cx="3562350" cy="20034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895AC2-3CA9-45FC-897F-256207571E0D}" type="slidenum">
              <a:rPr lang="en-GB" smtClean="0"/>
              <a:pPr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55883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- blue - patter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7486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0" name="Grafik 49" descr="Ein Bild, das drinnen, Outdoorobjekt, Spinnennetz enthält.&#10;&#10;Automatisch generierte Beschreibung">
            <a:extLst>
              <a:ext uri="{FF2B5EF4-FFF2-40B4-BE49-F238E27FC236}">
                <a16:creationId xmlns:a16="http://schemas.microsoft.com/office/drawing/2014/main" id="{C5D0D987-28F0-4CC3-BAE8-6A9E5806CAF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0051"/>
          <a:stretch/>
        </p:blipFill>
        <p:spPr>
          <a:xfrm>
            <a:off x="3614057" y="0"/>
            <a:ext cx="8577943" cy="6858000"/>
          </a:xfrm>
          <a:prstGeom prst="rect">
            <a:avLst/>
          </a:prstGeom>
        </p:spPr>
      </p:pic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92F8E679-E260-49EB-A3CA-F368C0674365}"/>
              </a:ext>
            </a:extLst>
          </p:cNvPr>
          <p:cNvGrpSpPr/>
          <p:nvPr/>
        </p:nvGrpSpPr>
        <p:grpSpPr>
          <a:xfrm>
            <a:off x="270000" y="270000"/>
            <a:ext cx="1346400" cy="244836"/>
            <a:chOff x="270000" y="270000"/>
            <a:chExt cx="1346400" cy="244836"/>
          </a:xfrm>
        </p:grpSpPr>
        <p:sp>
          <p:nvSpPr>
            <p:cNvPr id="86" name="Freihandform 42">
              <a:extLst>
                <a:ext uri="{FF2B5EF4-FFF2-40B4-BE49-F238E27FC236}">
                  <a16:creationId xmlns:a16="http://schemas.microsoft.com/office/drawing/2014/main" id="{C78A4FAC-CC44-4149-A771-0D69677F7ECA}"/>
                </a:ext>
              </a:extLst>
            </p:cNvPr>
            <p:cNvSpPr/>
            <p:nvPr/>
          </p:nvSpPr>
          <p:spPr bwMode="invGray">
            <a:xfrm>
              <a:off x="846965" y="272507"/>
              <a:ext cx="222709" cy="241364"/>
            </a:xfrm>
            <a:custGeom>
              <a:avLst/>
              <a:gdLst>
                <a:gd name="connsiteX0" fmla="*/ 462697 w 1018566"/>
                <a:gd name="connsiteY0" fmla="*/ 0 h 1103885"/>
                <a:gd name="connsiteX1" fmla="*/ 185079 w 1018566"/>
                <a:gd name="connsiteY1" fmla="*/ 0 h 1103885"/>
                <a:gd name="connsiteX2" fmla="*/ 0 w 1018566"/>
                <a:gd name="connsiteY2" fmla="*/ 368046 h 1103885"/>
                <a:gd name="connsiteX3" fmla="*/ 205995 w 1018566"/>
                <a:gd name="connsiteY3" fmla="*/ 368046 h 1103885"/>
                <a:gd name="connsiteX4" fmla="*/ 324648 w 1018566"/>
                <a:gd name="connsiteY4" fmla="*/ 132300 h 1103885"/>
                <a:gd name="connsiteX5" fmla="*/ 812698 w 1018566"/>
                <a:gd name="connsiteY5" fmla="*/ 1103886 h 1103885"/>
                <a:gd name="connsiteX6" fmla="*/ 1018566 w 1018566"/>
                <a:gd name="connsiteY6" fmla="*/ 1103886 h 1103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8566" h="1103885">
                  <a:moveTo>
                    <a:pt x="462697" y="0"/>
                  </a:moveTo>
                  <a:lnTo>
                    <a:pt x="185079" y="0"/>
                  </a:lnTo>
                  <a:lnTo>
                    <a:pt x="0" y="368046"/>
                  </a:lnTo>
                  <a:lnTo>
                    <a:pt x="205995" y="368046"/>
                  </a:lnTo>
                  <a:lnTo>
                    <a:pt x="324648" y="132300"/>
                  </a:lnTo>
                  <a:lnTo>
                    <a:pt x="812698" y="1103886"/>
                  </a:lnTo>
                  <a:lnTo>
                    <a:pt x="1018566" y="1103886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7" name="Freihandform 43">
              <a:extLst>
                <a:ext uri="{FF2B5EF4-FFF2-40B4-BE49-F238E27FC236}">
                  <a16:creationId xmlns:a16="http://schemas.microsoft.com/office/drawing/2014/main" id="{DE7A47C8-1A17-47CB-B506-734C6F33ACE4}"/>
                </a:ext>
              </a:extLst>
            </p:cNvPr>
            <p:cNvSpPr/>
            <p:nvPr/>
          </p:nvSpPr>
          <p:spPr bwMode="invGray">
            <a:xfrm>
              <a:off x="270000" y="272479"/>
              <a:ext cx="678133" cy="241392"/>
            </a:xfrm>
            <a:custGeom>
              <a:avLst/>
              <a:gdLst>
                <a:gd name="connsiteX0" fmla="*/ 3008922 w 3101461"/>
                <a:gd name="connsiteY0" fmla="*/ 460152 h 1104011"/>
                <a:gd name="connsiteX1" fmla="*/ 602646 w 3101461"/>
                <a:gd name="connsiteY1" fmla="*/ 460152 h 1104011"/>
                <a:gd name="connsiteX2" fmla="*/ 510107 w 3101461"/>
                <a:gd name="connsiteY2" fmla="*/ 644112 h 1104011"/>
                <a:gd name="connsiteX3" fmla="*/ 880264 w 3101461"/>
                <a:gd name="connsiteY3" fmla="*/ 644112 h 1104011"/>
                <a:gd name="connsiteX4" fmla="*/ 880264 w 3101461"/>
                <a:gd name="connsiteY4" fmla="*/ 920052 h 1104011"/>
                <a:gd name="connsiteX5" fmla="*/ 552193 w 3101461"/>
                <a:gd name="connsiteY5" fmla="*/ 920052 h 1104011"/>
                <a:gd name="connsiteX6" fmla="*/ 184191 w 3101461"/>
                <a:gd name="connsiteY6" fmla="*/ 552258 h 1104011"/>
                <a:gd name="connsiteX7" fmla="*/ 552193 w 3101461"/>
                <a:gd name="connsiteY7" fmla="*/ 184086 h 1104011"/>
                <a:gd name="connsiteX8" fmla="*/ 972550 w 3101461"/>
                <a:gd name="connsiteY8" fmla="*/ 184086 h 1104011"/>
                <a:gd name="connsiteX9" fmla="*/ 972550 w 3101461"/>
                <a:gd name="connsiteY9" fmla="*/ 0 h 1104011"/>
                <a:gd name="connsiteX10" fmla="*/ 552193 w 3101461"/>
                <a:gd name="connsiteY10" fmla="*/ 0 h 1104011"/>
                <a:gd name="connsiteX11" fmla="*/ 0 w 3101461"/>
                <a:gd name="connsiteY11" fmla="*/ 552258 h 1104011"/>
                <a:gd name="connsiteX12" fmla="*/ 552193 w 3101461"/>
                <a:gd name="connsiteY12" fmla="*/ 1104012 h 1104011"/>
                <a:gd name="connsiteX13" fmla="*/ 1065470 w 3101461"/>
                <a:gd name="connsiteY13" fmla="*/ 1104012 h 1104011"/>
                <a:gd name="connsiteX14" fmla="*/ 1065470 w 3101461"/>
                <a:gd name="connsiteY14" fmla="*/ 644112 h 1104011"/>
                <a:gd name="connsiteX15" fmla="*/ 1343088 w 3101461"/>
                <a:gd name="connsiteY15" fmla="*/ 644112 h 1104011"/>
                <a:gd name="connsiteX16" fmla="*/ 1343088 w 3101461"/>
                <a:gd name="connsiteY16" fmla="*/ 1104012 h 1104011"/>
                <a:gd name="connsiteX17" fmla="*/ 2083529 w 3101461"/>
                <a:gd name="connsiteY17" fmla="*/ 1104012 h 1104011"/>
                <a:gd name="connsiteX18" fmla="*/ 2176068 w 3101461"/>
                <a:gd name="connsiteY18" fmla="*/ 920052 h 1104011"/>
                <a:gd name="connsiteX19" fmla="*/ 1528166 w 3101461"/>
                <a:gd name="connsiteY19" fmla="*/ 920052 h 1104011"/>
                <a:gd name="connsiteX20" fmla="*/ 1528166 w 3101461"/>
                <a:gd name="connsiteY20" fmla="*/ 644112 h 1104011"/>
                <a:gd name="connsiteX21" fmla="*/ 2498815 w 3101461"/>
                <a:gd name="connsiteY21" fmla="*/ 644112 h 1104011"/>
                <a:gd name="connsiteX22" fmla="*/ 2268608 w 3101461"/>
                <a:gd name="connsiteY22" fmla="*/ 1104012 h 1104011"/>
                <a:gd name="connsiteX23" fmla="*/ 2474476 w 3101461"/>
                <a:gd name="connsiteY23" fmla="*/ 1104012 h 1104011"/>
                <a:gd name="connsiteX24" fmla="*/ 2705824 w 3101461"/>
                <a:gd name="connsiteY24" fmla="*/ 644112 h 1104011"/>
                <a:gd name="connsiteX25" fmla="*/ 3101461 w 3101461"/>
                <a:gd name="connsiteY25" fmla="*/ 644112 h 1104011"/>
                <a:gd name="connsiteX26" fmla="*/ 3008922 w 3101461"/>
                <a:gd name="connsiteY26" fmla="*/ 460152 h 110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01461" h="1104011">
                  <a:moveTo>
                    <a:pt x="3008922" y="460152"/>
                  </a:moveTo>
                  <a:lnTo>
                    <a:pt x="602646" y="460152"/>
                  </a:lnTo>
                  <a:lnTo>
                    <a:pt x="510107" y="644112"/>
                  </a:lnTo>
                  <a:lnTo>
                    <a:pt x="880264" y="644112"/>
                  </a:lnTo>
                  <a:lnTo>
                    <a:pt x="880264" y="920052"/>
                  </a:lnTo>
                  <a:lnTo>
                    <a:pt x="552193" y="920052"/>
                  </a:lnTo>
                  <a:cubicBezTo>
                    <a:pt x="349368" y="920052"/>
                    <a:pt x="184191" y="755748"/>
                    <a:pt x="184191" y="552258"/>
                  </a:cubicBezTo>
                  <a:cubicBezTo>
                    <a:pt x="184191" y="348768"/>
                    <a:pt x="349241" y="184086"/>
                    <a:pt x="552193" y="184086"/>
                  </a:cubicBezTo>
                  <a:lnTo>
                    <a:pt x="972550" y="184086"/>
                  </a:lnTo>
                  <a:lnTo>
                    <a:pt x="972550" y="0"/>
                  </a:lnTo>
                  <a:lnTo>
                    <a:pt x="552193" y="0"/>
                  </a:lnTo>
                  <a:cubicBezTo>
                    <a:pt x="247701" y="0"/>
                    <a:pt x="0" y="247716"/>
                    <a:pt x="0" y="552258"/>
                  </a:cubicBezTo>
                  <a:cubicBezTo>
                    <a:pt x="0" y="856800"/>
                    <a:pt x="247701" y="1104012"/>
                    <a:pt x="552193" y="1104012"/>
                  </a:cubicBezTo>
                  <a:lnTo>
                    <a:pt x="1065470" y="1104012"/>
                  </a:lnTo>
                  <a:lnTo>
                    <a:pt x="1065470" y="644112"/>
                  </a:lnTo>
                  <a:lnTo>
                    <a:pt x="1343088" y="644112"/>
                  </a:lnTo>
                  <a:lnTo>
                    <a:pt x="1343088" y="1104012"/>
                  </a:lnTo>
                  <a:lnTo>
                    <a:pt x="2083529" y="1104012"/>
                  </a:lnTo>
                  <a:lnTo>
                    <a:pt x="2176068" y="920052"/>
                  </a:lnTo>
                  <a:lnTo>
                    <a:pt x="1528166" y="920052"/>
                  </a:lnTo>
                  <a:lnTo>
                    <a:pt x="1528166" y="644112"/>
                  </a:lnTo>
                  <a:lnTo>
                    <a:pt x="2498815" y="644112"/>
                  </a:lnTo>
                  <a:lnTo>
                    <a:pt x="2268608" y="1104012"/>
                  </a:lnTo>
                  <a:lnTo>
                    <a:pt x="2474476" y="1104012"/>
                  </a:lnTo>
                  <a:lnTo>
                    <a:pt x="2705824" y="644112"/>
                  </a:lnTo>
                  <a:lnTo>
                    <a:pt x="3101461" y="644112"/>
                  </a:lnTo>
                  <a:lnTo>
                    <a:pt x="3008922" y="46015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8" name="Freihandform 46">
              <a:extLst>
                <a:ext uri="{FF2B5EF4-FFF2-40B4-BE49-F238E27FC236}">
                  <a16:creationId xmlns:a16="http://schemas.microsoft.com/office/drawing/2014/main" id="{F6980514-C5C3-4070-9D53-3F4B40A250FD}"/>
                </a:ext>
              </a:extLst>
            </p:cNvPr>
            <p:cNvSpPr/>
            <p:nvPr/>
          </p:nvSpPr>
          <p:spPr bwMode="invGray">
            <a:xfrm>
              <a:off x="563638" y="272479"/>
              <a:ext cx="182159" cy="80501"/>
            </a:xfrm>
            <a:custGeom>
              <a:avLst/>
              <a:gdLst>
                <a:gd name="connsiteX0" fmla="*/ 185205 w 833107"/>
                <a:gd name="connsiteY0" fmla="*/ 184086 h 368172"/>
                <a:gd name="connsiteX1" fmla="*/ 833107 w 833107"/>
                <a:gd name="connsiteY1" fmla="*/ 184212 h 368172"/>
                <a:gd name="connsiteX2" fmla="*/ 833107 w 833107"/>
                <a:gd name="connsiteY2" fmla="*/ 126 h 368172"/>
                <a:gd name="connsiteX3" fmla="*/ 0 w 833107"/>
                <a:gd name="connsiteY3" fmla="*/ 0 h 368172"/>
                <a:gd name="connsiteX4" fmla="*/ 0 w 833107"/>
                <a:gd name="connsiteY4" fmla="*/ 368172 h 368172"/>
                <a:gd name="connsiteX5" fmla="*/ 185205 w 833107"/>
                <a:gd name="connsiteY5" fmla="*/ 368172 h 36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3107" h="368172">
                  <a:moveTo>
                    <a:pt x="185205" y="184086"/>
                  </a:moveTo>
                  <a:lnTo>
                    <a:pt x="833107" y="184212"/>
                  </a:lnTo>
                  <a:lnTo>
                    <a:pt x="833107" y="126"/>
                  </a:lnTo>
                  <a:lnTo>
                    <a:pt x="0" y="0"/>
                  </a:lnTo>
                  <a:lnTo>
                    <a:pt x="0" y="368172"/>
                  </a:lnTo>
                  <a:lnTo>
                    <a:pt x="185205" y="36817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7" name="Freihandform 13">
              <a:extLst>
                <a:ext uri="{FF2B5EF4-FFF2-40B4-BE49-F238E27FC236}">
                  <a16:creationId xmlns:a16="http://schemas.microsoft.com/office/drawing/2014/main" id="{5F79A0FA-6215-4C9E-88D3-6859B5F32E15}"/>
                </a:ext>
              </a:extLst>
            </p:cNvPr>
            <p:cNvSpPr/>
            <p:nvPr/>
          </p:nvSpPr>
          <p:spPr bwMode="invGray">
            <a:xfrm>
              <a:off x="1130320" y="272535"/>
              <a:ext cx="40440" cy="63502"/>
            </a:xfrm>
            <a:custGeom>
              <a:avLst/>
              <a:gdLst>
                <a:gd name="connsiteX0" fmla="*/ 184952 w 184951"/>
                <a:gd name="connsiteY0" fmla="*/ 252630 h 290429"/>
                <a:gd name="connsiteX1" fmla="*/ 44114 w 184951"/>
                <a:gd name="connsiteY1" fmla="*/ 252630 h 290429"/>
                <a:gd name="connsiteX2" fmla="*/ 44114 w 184951"/>
                <a:gd name="connsiteY2" fmla="*/ 163800 h 290429"/>
                <a:gd name="connsiteX3" fmla="*/ 173669 w 184951"/>
                <a:gd name="connsiteY3" fmla="*/ 163800 h 290429"/>
                <a:gd name="connsiteX4" fmla="*/ 173669 w 184951"/>
                <a:gd name="connsiteY4" fmla="*/ 126252 h 290429"/>
                <a:gd name="connsiteX5" fmla="*/ 44114 w 184951"/>
                <a:gd name="connsiteY5" fmla="*/ 126252 h 290429"/>
                <a:gd name="connsiteX6" fmla="*/ 44114 w 184951"/>
                <a:gd name="connsiteY6" fmla="*/ 37800 h 290429"/>
                <a:gd name="connsiteX7" fmla="*/ 183177 w 184951"/>
                <a:gd name="connsiteY7" fmla="*/ 37800 h 290429"/>
                <a:gd name="connsiteX8" fmla="*/ 183177 w 184951"/>
                <a:gd name="connsiteY8" fmla="*/ 0 h 290429"/>
                <a:gd name="connsiteX9" fmla="*/ 0 w 184951"/>
                <a:gd name="connsiteY9" fmla="*/ 0 h 290429"/>
                <a:gd name="connsiteX10" fmla="*/ 0 w 184951"/>
                <a:gd name="connsiteY10" fmla="*/ 290430 h 290429"/>
                <a:gd name="connsiteX11" fmla="*/ 184952 w 184951"/>
                <a:gd name="connsiteY11" fmla="*/ 290430 h 290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4951" h="290429">
                  <a:moveTo>
                    <a:pt x="184952" y="252630"/>
                  </a:moveTo>
                  <a:lnTo>
                    <a:pt x="44114" y="252630"/>
                  </a:lnTo>
                  <a:lnTo>
                    <a:pt x="44114" y="163800"/>
                  </a:lnTo>
                  <a:lnTo>
                    <a:pt x="173669" y="163800"/>
                  </a:lnTo>
                  <a:lnTo>
                    <a:pt x="173669" y="126252"/>
                  </a:lnTo>
                  <a:lnTo>
                    <a:pt x="44114" y="126252"/>
                  </a:lnTo>
                  <a:lnTo>
                    <a:pt x="44114" y="37800"/>
                  </a:lnTo>
                  <a:lnTo>
                    <a:pt x="183177" y="37800"/>
                  </a:lnTo>
                  <a:lnTo>
                    <a:pt x="183177" y="0"/>
                  </a:lnTo>
                  <a:lnTo>
                    <a:pt x="0" y="0"/>
                  </a:lnTo>
                  <a:lnTo>
                    <a:pt x="0" y="290430"/>
                  </a:lnTo>
                  <a:lnTo>
                    <a:pt x="184952" y="29043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8" name="Freihandform 14">
              <a:extLst>
                <a:ext uri="{FF2B5EF4-FFF2-40B4-BE49-F238E27FC236}">
                  <a16:creationId xmlns:a16="http://schemas.microsoft.com/office/drawing/2014/main" id="{E57EC58B-2D5D-4877-9B03-E31621E4FFDE}"/>
                </a:ext>
              </a:extLst>
            </p:cNvPr>
            <p:cNvSpPr/>
            <p:nvPr/>
          </p:nvSpPr>
          <p:spPr bwMode="invGray">
            <a:xfrm>
              <a:off x="1182623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665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4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9" name="Freihandform 15">
              <a:extLst>
                <a:ext uri="{FF2B5EF4-FFF2-40B4-BE49-F238E27FC236}">
                  <a16:creationId xmlns:a16="http://schemas.microsoft.com/office/drawing/2014/main" id="{3B593BEE-0095-4972-88AF-BE89E168AFD9}"/>
                </a:ext>
              </a:extLst>
            </p:cNvPr>
            <p:cNvSpPr/>
            <p:nvPr/>
          </p:nvSpPr>
          <p:spPr bwMode="invGray">
            <a:xfrm>
              <a:off x="1232902" y="287797"/>
              <a:ext cx="43821" cy="66974"/>
            </a:xfrm>
            <a:custGeom>
              <a:avLst/>
              <a:gdLst>
                <a:gd name="connsiteX0" fmla="*/ 151739 w 200417"/>
                <a:gd name="connsiteY0" fmla="*/ 297738 h 306306"/>
                <a:gd name="connsiteX1" fmla="*/ 187234 w 200417"/>
                <a:gd name="connsiteY1" fmla="*/ 271152 h 306306"/>
                <a:gd name="connsiteX2" fmla="*/ 200417 w 200417"/>
                <a:gd name="connsiteY2" fmla="*/ 225414 h 306306"/>
                <a:gd name="connsiteX3" fmla="*/ 200417 w 200417"/>
                <a:gd name="connsiteY3" fmla="*/ 2772 h 306306"/>
                <a:gd name="connsiteX4" fmla="*/ 158585 w 200417"/>
                <a:gd name="connsiteY4" fmla="*/ 2772 h 306306"/>
                <a:gd name="connsiteX5" fmla="*/ 158585 w 200417"/>
                <a:gd name="connsiteY5" fmla="*/ 38052 h 306306"/>
                <a:gd name="connsiteX6" fmla="*/ 155415 w 200417"/>
                <a:gd name="connsiteY6" fmla="*/ 38052 h 306306"/>
                <a:gd name="connsiteX7" fmla="*/ 144513 w 200417"/>
                <a:gd name="connsiteY7" fmla="*/ 22302 h 306306"/>
                <a:gd name="connsiteX8" fmla="*/ 124865 w 200417"/>
                <a:gd name="connsiteY8" fmla="*/ 6678 h 306306"/>
                <a:gd name="connsiteX9" fmla="*/ 91905 w 200417"/>
                <a:gd name="connsiteY9" fmla="*/ 0 h 306306"/>
                <a:gd name="connsiteX10" fmla="*/ 44622 w 200417"/>
                <a:gd name="connsiteY10" fmla="*/ 13230 h 306306"/>
                <a:gd name="connsiteX11" fmla="*/ 11916 w 200417"/>
                <a:gd name="connsiteY11" fmla="*/ 51282 h 306306"/>
                <a:gd name="connsiteX12" fmla="*/ 0 w 200417"/>
                <a:gd name="connsiteY12" fmla="*/ 110880 h 306306"/>
                <a:gd name="connsiteX13" fmla="*/ 12043 w 200417"/>
                <a:gd name="connsiteY13" fmla="*/ 169344 h 306306"/>
                <a:gd name="connsiteX14" fmla="*/ 44875 w 200417"/>
                <a:gd name="connsiteY14" fmla="*/ 205254 h 306306"/>
                <a:gd name="connsiteX15" fmla="*/ 91525 w 200417"/>
                <a:gd name="connsiteY15" fmla="*/ 217350 h 306306"/>
                <a:gd name="connsiteX16" fmla="*/ 124231 w 200417"/>
                <a:gd name="connsiteY16" fmla="*/ 211050 h 306306"/>
                <a:gd name="connsiteX17" fmla="*/ 144007 w 200417"/>
                <a:gd name="connsiteY17" fmla="*/ 196308 h 306306"/>
                <a:gd name="connsiteX18" fmla="*/ 155035 w 200417"/>
                <a:gd name="connsiteY18" fmla="*/ 180810 h 306306"/>
                <a:gd name="connsiteX19" fmla="*/ 157697 w 200417"/>
                <a:gd name="connsiteY19" fmla="*/ 180810 h 306306"/>
                <a:gd name="connsiteX20" fmla="*/ 157697 w 200417"/>
                <a:gd name="connsiteY20" fmla="*/ 223650 h 306306"/>
                <a:gd name="connsiteX21" fmla="*/ 141851 w 200417"/>
                <a:gd name="connsiteY21" fmla="*/ 260568 h 306306"/>
                <a:gd name="connsiteX22" fmla="*/ 101793 w 200417"/>
                <a:gd name="connsiteY22" fmla="*/ 272160 h 306306"/>
                <a:gd name="connsiteX23" fmla="*/ 72891 w 200417"/>
                <a:gd name="connsiteY23" fmla="*/ 267246 h 306306"/>
                <a:gd name="connsiteX24" fmla="*/ 55270 w 200417"/>
                <a:gd name="connsiteY24" fmla="*/ 255276 h 306306"/>
                <a:gd name="connsiteX25" fmla="*/ 44875 w 200417"/>
                <a:gd name="connsiteY25" fmla="*/ 242424 h 306306"/>
                <a:gd name="connsiteX26" fmla="*/ 8240 w 200417"/>
                <a:gd name="connsiteY26" fmla="*/ 257418 h 306306"/>
                <a:gd name="connsiteX27" fmla="*/ 25860 w 200417"/>
                <a:gd name="connsiteY27" fmla="*/ 281610 h 306306"/>
                <a:gd name="connsiteX28" fmla="*/ 56411 w 200417"/>
                <a:gd name="connsiteY28" fmla="*/ 299502 h 306306"/>
                <a:gd name="connsiteX29" fmla="*/ 101286 w 200417"/>
                <a:gd name="connsiteY29" fmla="*/ 306306 h 306306"/>
                <a:gd name="connsiteX30" fmla="*/ 151739 w 200417"/>
                <a:gd name="connsiteY30" fmla="*/ 297738 h 306306"/>
                <a:gd name="connsiteX31" fmla="*/ 151612 w 200417"/>
                <a:gd name="connsiteY31" fmla="*/ 148932 h 306306"/>
                <a:gd name="connsiteX32" fmla="*/ 132217 w 200417"/>
                <a:gd name="connsiteY32" fmla="*/ 173628 h 306306"/>
                <a:gd name="connsiteX33" fmla="*/ 101033 w 200417"/>
                <a:gd name="connsiteY33" fmla="*/ 182196 h 306306"/>
                <a:gd name="connsiteX34" fmla="*/ 69214 w 200417"/>
                <a:gd name="connsiteY34" fmla="*/ 173124 h 306306"/>
                <a:gd name="connsiteX35" fmla="*/ 49819 w 200417"/>
                <a:gd name="connsiteY35" fmla="*/ 147924 h 306306"/>
                <a:gd name="connsiteX36" fmla="*/ 43227 w 200417"/>
                <a:gd name="connsiteY36" fmla="*/ 110376 h 306306"/>
                <a:gd name="connsiteX37" fmla="*/ 49693 w 200417"/>
                <a:gd name="connsiteY37" fmla="*/ 72702 h 306306"/>
                <a:gd name="connsiteX38" fmla="*/ 68961 w 200417"/>
                <a:gd name="connsiteY38" fmla="*/ 45990 h 306306"/>
                <a:gd name="connsiteX39" fmla="*/ 101033 w 200417"/>
                <a:gd name="connsiteY39" fmla="*/ 36162 h 306306"/>
                <a:gd name="connsiteX40" fmla="*/ 132471 w 200417"/>
                <a:gd name="connsiteY40" fmla="*/ 45612 h 306306"/>
                <a:gd name="connsiteX41" fmla="*/ 151739 w 200417"/>
                <a:gd name="connsiteY41" fmla="*/ 71820 h 306306"/>
                <a:gd name="connsiteX42" fmla="*/ 158331 w 200417"/>
                <a:gd name="connsiteY42" fmla="*/ 110502 h 306306"/>
                <a:gd name="connsiteX43" fmla="*/ 151612 w 200417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417" h="306306">
                  <a:moveTo>
                    <a:pt x="151739" y="297738"/>
                  </a:moveTo>
                  <a:cubicBezTo>
                    <a:pt x="166571" y="291942"/>
                    <a:pt x="178487" y="283122"/>
                    <a:pt x="187234" y="271152"/>
                  </a:cubicBezTo>
                  <a:cubicBezTo>
                    <a:pt x="195980" y="259182"/>
                    <a:pt x="200417" y="243936"/>
                    <a:pt x="200417" y="225414"/>
                  </a:cubicBezTo>
                  <a:lnTo>
                    <a:pt x="200417" y="2772"/>
                  </a:lnTo>
                  <a:lnTo>
                    <a:pt x="158585" y="2772"/>
                  </a:ln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7" y="196308"/>
                  </a:cubicBezTo>
                  <a:cubicBezTo>
                    <a:pt x="148824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3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20048" y="306306"/>
                    <a:pt x="136781" y="303534"/>
                    <a:pt x="151739" y="297738"/>
                  </a:cubicBezTo>
                  <a:close/>
                  <a:moveTo>
                    <a:pt x="151612" y="148932"/>
                  </a:moveTo>
                  <a:cubicBezTo>
                    <a:pt x="147176" y="159642"/>
                    <a:pt x="140711" y="167832"/>
                    <a:pt x="132217" y="173628"/>
                  </a:cubicBezTo>
                  <a:cubicBezTo>
                    <a:pt x="123724" y="179298"/>
                    <a:pt x="113329" y="182196"/>
                    <a:pt x="101033" y="182196"/>
                  </a:cubicBezTo>
                  <a:cubicBezTo>
                    <a:pt x="88356" y="182196"/>
                    <a:pt x="77708" y="179172"/>
                    <a:pt x="69214" y="173124"/>
                  </a:cubicBezTo>
                  <a:cubicBezTo>
                    <a:pt x="60594" y="167076"/>
                    <a:pt x="54129" y="158634"/>
                    <a:pt x="49819" y="147924"/>
                  </a:cubicBezTo>
                  <a:cubicBezTo>
                    <a:pt x="45383" y="137088"/>
                    <a:pt x="43227" y="124614"/>
                    <a:pt x="43227" y="110376"/>
                  </a:cubicBezTo>
                  <a:cubicBezTo>
                    <a:pt x="43227" y="96516"/>
                    <a:pt x="45383" y="83916"/>
                    <a:pt x="49693" y="72702"/>
                  </a:cubicBezTo>
                  <a:cubicBezTo>
                    <a:pt x="54003" y="61488"/>
                    <a:pt x="60468" y="52542"/>
                    <a:pt x="68961" y="45990"/>
                  </a:cubicBezTo>
                  <a:cubicBezTo>
                    <a:pt x="77454" y="39438"/>
                    <a:pt x="88229" y="36162"/>
                    <a:pt x="101033" y="36162"/>
                  </a:cubicBezTo>
                  <a:cubicBezTo>
                    <a:pt x="113456" y="36162"/>
                    <a:pt x="123977" y="39312"/>
                    <a:pt x="132471" y="45612"/>
                  </a:cubicBezTo>
                  <a:cubicBezTo>
                    <a:pt x="140964" y="51912"/>
                    <a:pt x="147302" y="60606"/>
                    <a:pt x="151739" y="71820"/>
                  </a:cubicBezTo>
                  <a:cubicBezTo>
                    <a:pt x="156049" y="83034"/>
                    <a:pt x="158331" y="95886"/>
                    <a:pt x="158331" y="110502"/>
                  </a:cubicBezTo>
                  <a:cubicBezTo>
                    <a:pt x="158204" y="125370"/>
                    <a:pt x="156049" y="138222"/>
                    <a:pt x="151612" y="14893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0" name="Freihandform 16">
              <a:extLst>
                <a:ext uri="{FF2B5EF4-FFF2-40B4-BE49-F238E27FC236}">
                  <a16:creationId xmlns:a16="http://schemas.microsoft.com/office/drawing/2014/main" id="{61DB7D41-1F3C-4577-8DF3-381E205FC7E3}"/>
                </a:ext>
              </a:extLst>
            </p:cNvPr>
            <p:cNvSpPr/>
            <p:nvPr/>
          </p:nvSpPr>
          <p:spPr bwMode="invGray">
            <a:xfrm>
              <a:off x="1288032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3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057" y="48132"/>
                    <a:pt x="19522" y="50652"/>
                    <a:pt x="26874" y="506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1" name="Freihandform 17">
              <a:extLst>
                <a:ext uri="{FF2B5EF4-FFF2-40B4-BE49-F238E27FC236}">
                  <a16:creationId xmlns:a16="http://schemas.microsoft.com/office/drawing/2014/main" id="{5FAB5E34-4947-4A96-B073-3D90C2A47D69}"/>
                </a:ext>
              </a:extLst>
            </p:cNvPr>
            <p:cNvSpPr/>
            <p:nvPr/>
          </p:nvSpPr>
          <p:spPr bwMode="invGray">
            <a:xfrm>
              <a:off x="1289196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2" name="Freihandform 18">
              <a:extLst>
                <a:ext uri="{FF2B5EF4-FFF2-40B4-BE49-F238E27FC236}">
                  <a16:creationId xmlns:a16="http://schemas.microsoft.com/office/drawing/2014/main" id="{E901DCE8-17C4-4D0F-A0D3-C842B85B34DF}"/>
                </a:ext>
              </a:extLst>
            </p:cNvPr>
            <p:cNvSpPr/>
            <p:nvPr/>
          </p:nvSpPr>
          <p:spPr bwMode="invGray">
            <a:xfrm>
              <a:off x="1311148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792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5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3" name="Freihandform 19">
              <a:extLst>
                <a:ext uri="{FF2B5EF4-FFF2-40B4-BE49-F238E27FC236}">
                  <a16:creationId xmlns:a16="http://schemas.microsoft.com/office/drawing/2014/main" id="{7B705228-D5D6-44EB-AB29-6486B6E45C00}"/>
                </a:ext>
              </a:extLst>
            </p:cNvPr>
            <p:cNvSpPr/>
            <p:nvPr/>
          </p:nvSpPr>
          <p:spPr bwMode="invGray">
            <a:xfrm>
              <a:off x="1361400" y="287852"/>
              <a:ext cx="43350" cy="49149"/>
            </a:xfrm>
            <a:custGeom>
              <a:avLst/>
              <a:gdLst>
                <a:gd name="connsiteX0" fmla="*/ 48424 w 198262"/>
                <a:gd name="connsiteY0" fmla="*/ 210924 h 224783"/>
                <a:gd name="connsiteX1" fmla="*/ 104202 w 198262"/>
                <a:gd name="connsiteY1" fmla="*/ 224784 h 224783"/>
                <a:gd name="connsiteX2" fmla="*/ 146922 w 198262"/>
                <a:gd name="connsiteY2" fmla="*/ 217476 h 224783"/>
                <a:gd name="connsiteX3" fmla="*/ 178106 w 198262"/>
                <a:gd name="connsiteY3" fmla="*/ 196938 h 224783"/>
                <a:gd name="connsiteX4" fmla="*/ 195473 w 198262"/>
                <a:gd name="connsiteY4" fmla="*/ 165942 h 224783"/>
                <a:gd name="connsiteX5" fmla="*/ 155162 w 198262"/>
                <a:gd name="connsiteY5" fmla="*/ 158760 h 224783"/>
                <a:gd name="connsiteX6" fmla="*/ 144006 w 198262"/>
                <a:gd name="connsiteY6" fmla="*/ 175896 h 224783"/>
                <a:gd name="connsiteX7" fmla="*/ 126766 w 198262"/>
                <a:gd name="connsiteY7" fmla="*/ 186354 h 224783"/>
                <a:gd name="connsiteX8" fmla="*/ 104709 w 198262"/>
                <a:gd name="connsiteY8" fmla="*/ 189882 h 224783"/>
                <a:gd name="connsiteX9" fmla="*/ 72003 w 198262"/>
                <a:gd name="connsiteY9" fmla="*/ 181818 h 224783"/>
                <a:gd name="connsiteX10" fmla="*/ 50326 w 198262"/>
                <a:gd name="connsiteY10" fmla="*/ 158508 h 224783"/>
                <a:gd name="connsiteX11" fmla="*/ 42847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424 w 198262"/>
                <a:gd name="connsiteY22" fmla="*/ 210924 h 224783"/>
                <a:gd name="connsiteX23" fmla="*/ 49566 w 198262"/>
                <a:gd name="connsiteY23" fmla="*/ 66150 h 224783"/>
                <a:gd name="connsiteX24" fmla="*/ 70102 w 198262"/>
                <a:gd name="connsiteY24" fmla="*/ 43470 h 224783"/>
                <a:gd name="connsiteX25" fmla="*/ 101413 w 198262"/>
                <a:gd name="connsiteY25" fmla="*/ 34776 h 224783"/>
                <a:gd name="connsiteX26" fmla="*/ 130316 w 198262"/>
                <a:gd name="connsiteY26" fmla="*/ 42336 h 224783"/>
                <a:gd name="connsiteX27" fmla="*/ 149457 w 198262"/>
                <a:gd name="connsiteY27" fmla="*/ 62874 h 224783"/>
                <a:gd name="connsiteX28" fmla="*/ 156303 w 198262"/>
                <a:gd name="connsiteY28" fmla="*/ 92610 h 224783"/>
                <a:gd name="connsiteX29" fmla="*/ 42847 w 198262"/>
                <a:gd name="connsiteY29" fmla="*/ 92610 h 224783"/>
                <a:gd name="connsiteX30" fmla="*/ 49566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424" y="210924"/>
                  </a:moveTo>
                  <a:cubicBezTo>
                    <a:pt x="64017" y="220122"/>
                    <a:pt x="82525" y="224784"/>
                    <a:pt x="104202" y="224784"/>
                  </a:cubicBezTo>
                  <a:cubicBezTo>
                    <a:pt x="120174" y="224784"/>
                    <a:pt x="134372" y="222390"/>
                    <a:pt x="146922" y="217476"/>
                  </a:cubicBezTo>
                  <a:cubicBezTo>
                    <a:pt x="159472" y="212562"/>
                    <a:pt x="169867" y="205758"/>
                    <a:pt x="178106" y="196938"/>
                  </a:cubicBezTo>
                  <a:cubicBezTo>
                    <a:pt x="186473" y="188118"/>
                    <a:pt x="192178" y="177786"/>
                    <a:pt x="195473" y="165942"/>
                  </a:cubicBezTo>
                  <a:lnTo>
                    <a:pt x="155162" y="158760"/>
                  </a:lnTo>
                  <a:cubicBezTo>
                    <a:pt x="152626" y="165564"/>
                    <a:pt x="148823" y="171234"/>
                    <a:pt x="144006" y="175896"/>
                  </a:cubicBezTo>
                  <a:cubicBezTo>
                    <a:pt x="139189" y="180558"/>
                    <a:pt x="133358" y="183960"/>
                    <a:pt x="126766" y="186354"/>
                  </a:cubicBezTo>
                  <a:cubicBezTo>
                    <a:pt x="120048" y="188622"/>
                    <a:pt x="112695" y="189882"/>
                    <a:pt x="104709" y="189882"/>
                  </a:cubicBezTo>
                  <a:cubicBezTo>
                    <a:pt x="92286" y="189882"/>
                    <a:pt x="81384" y="187236"/>
                    <a:pt x="72003" y="181818"/>
                  </a:cubicBezTo>
                  <a:cubicBezTo>
                    <a:pt x="62749" y="176526"/>
                    <a:pt x="55397" y="168714"/>
                    <a:pt x="50326" y="158508"/>
                  </a:cubicBezTo>
                  <a:cubicBezTo>
                    <a:pt x="45509" y="149058"/>
                    <a:pt x="43227" y="137592"/>
                    <a:pt x="42847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0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0916" y="188748"/>
                    <a:pt x="32959" y="201726"/>
                    <a:pt x="48424" y="210924"/>
                  </a:cubicBezTo>
                  <a:close/>
                  <a:moveTo>
                    <a:pt x="49566" y="66150"/>
                  </a:moveTo>
                  <a:cubicBezTo>
                    <a:pt x="54382" y="56826"/>
                    <a:pt x="61228" y="49266"/>
                    <a:pt x="70102" y="43470"/>
                  </a:cubicBezTo>
                  <a:cubicBezTo>
                    <a:pt x="78975" y="37674"/>
                    <a:pt x="89370" y="34776"/>
                    <a:pt x="101413" y="34776"/>
                  </a:cubicBezTo>
                  <a:cubicBezTo>
                    <a:pt x="112442" y="34776"/>
                    <a:pt x="122076" y="37296"/>
                    <a:pt x="130316" y="42336"/>
                  </a:cubicBezTo>
                  <a:cubicBezTo>
                    <a:pt x="138555" y="47376"/>
                    <a:pt x="144894" y="54180"/>
                    <a:pt x="149457" y="62874"/>
                  </a:cubicBezTo>
                  <a:cubicBezTo>
                    <a:pt x="154021" y="71568"/>
                    <a:pt x="156303" y="81396"/>
                    <a:pt x="156303" y="92610"/>
                  </a:cubicBezTo>
                  <a:lnTo>
                    <a:pt x="42847" y="92610"/>
                  </a:lnTo>
                  <a:cubicBezTo>
                    <a:pt x="43354" y="83160"/>
                    <a:pt x="45382" y="74340"/>
                    <a:pt x="49566" y="6615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4" name="Freihandform 20">
              <a:extLst>
                <a:ext uri="{FF2B5EF4-FFF2-40B4-BE49-F238E27FC236}">
                  <a16:creationId xmlns:a16="http://schemas.microsoft.com/office/drawing/2014/main" id="{21E22395-C023-4230-9959-623017CB2A5A}"/>
                </a:ext>
              </a:extLst>
            </p:cNvPr>
            <p:cNvSpPr/>
            <p:nvPr/>
          </p:nvSpPr>
          <p:spPr bwMode="invGray">
            <a:xfrm>
              <a:off x="1412954" y="287852"/>
              <a:ext cx="43350" cy="49149"/>
            </a:xfrm>
            <a:custGeom>
              <a:avLst/>
              <a:gdLst>
                <a:gd name="connsiteX0" fmla="*/ 48552 w 198262"/>
                <a:gd name="connsiteY0" fmla="*/ 210924 h 224783"/>
                <a:gd name="connsiteX1" fmla="*/ 104329 w 198262"/>
                <a:gd name="connsiteY1" fmla="*/ 224784 h 224783"/>
                <a:gd name="connsiteX2" fmla="*/ 147049 w 198262"/>
                <a:gd name="connsiteY2" fmla="*/ 217476 h 224783"/>
                <a:gd name="connsiteX3" fmla="*/ 178234 w 198262"/>
                <a:gd name="connsiteY3" fmla="*/ 196938 h 224783"/>
                <a:gd name="connsiteX4" fmla="*/ 195601 w 198262"/>
                <a:gd name="connsiteY4" fmla="*/ 165942 h 224783"/>
                <a:gd name="connsiteX5" fmla="*/ 155289 w 198262"/>
                <a:gd name="connsiteY5" fmla="*/ 158760 h 224783"/>
                <a:gd name="connsiteX6" fmla="*/ 144133 w 198262"/>
                <a:gd name="connsiteY6" fmla="*/ 175896 h 224783"/>
                <a:gd name="connsiteX7" fmla="*/ 126893 w 198262"/>
                <a:gd name="connsiteY7" fmla="*/ 186354 h 224783"/>
                <a:gd name="connsiteX8" fmla="*/ 104836 w 198262"/>
                <a:gd name="connsiteY8" fmla="*/ 189882 h 224783"/>
                <a:gd name="connsiteX9" fmla="*/ 72130 w 198262"/>
                <a:gd name="connsiteY9" fmla="*/ 181818 h 224783"/>
                <a:gd name="connsiteX10" fmla="*/ 50453 w 198262"/>
                <a:gd name="connsiteY10" fmla="*/ 158508 h 224783"/>
                <a:gd name="connsiteX11" fmla="*/ 42974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552 w 198262"/>
                <a:gd name="connsiteY22" fmla="*/ 210924 h 224783"/>
                <a:gd name="connsiteX23" fmla="*/ 49693 w 198262"/>
                <a:gd name="connsiteY23" fmla="*/ 66150 h 224783"/>
                <a:gd name="connsiteX24" fmla="*/ 70229 w 198262"/>
                <a:gd name="connsiteY24" fmla="*/ 43470 h 224783"/>
                <a:gd name="connsiteX25" fmla="*/ 101540 w 198262"/>
                <a:gd name="connsiteY25" fmla="*/ 34776 h 224783"/>
                <a:gd name="connsiteX26" fmla="*/ 130443 w 198262"/>
                <a:gd name="connsiteY26" fmla="*/ 42336 h 224783"/>
                <a:gd name="connsiteX27" fmla="*/ 149584 w 198262"/>
                <a:gd name="connsiteY27" fmla="*/ 62874 h 224783"/>
                <a:gd name="connsiteX28" fmla="*/ 156430 w 198262"/>
                <a:gd name="connsiteY28" fmla="*/ 92610 h 224783"/>
                <a:gd name="connsiteX29" fmla="*/ 42974 w 198262"/>
                <a:gd name="connsiteY29" fmla="*/ 92610 h 224783"/>
                <a:gd name="connsiteX30" fmla="*/ 49693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552" y="210924"/>
                  </a:moveTo>
                  <a:cubicBezTo>
                    <a:pt x="64144" y="220122"/>
                    <a:pt x="82652" y="224784"/>
                    <a:pt x="104329" y="224784"/>
                  </a:cubicBezTo>
                  <a:cubicBezTo>
                    <a:pt x="120301" y="224784"/>
                    <a:pt x="134499" y="222390"/>
                    <a:pt x="147049" y="217476"/>
                  </a:cubicBezTo>
                  <a:cubicBezTo>
                    <a:pt x="159599" y="212562"/>
                    <a:pt x="169993" y="205758"/>
                    <a:pt x="178234" y="196938"/>
                  </a:cubicBezTo>
                  <a:cubicBezTo>
                    <a:pt x="186600" y="188118"/>
                    <a:pt x="192304" y="177786"/>
                    <a:pt x="195601" y="165942"/>
                  </a:cubicBezTo>
                  <a:lnTo>
                    <a:pt x="155289" y="158760"/>
                  </a:lnTo>
                  <a:cubicBezTo>
                    <a:pt x="152753" y="165564"/>
                    <a:pt x="148950" y="171234"/>
                    <a:pt x="144133" y="175896"/>
                  </a:cubicBezTo>
                  <a:cubicBezTo>
                    <a:pt x="139316" y="180558"/>
                    <a:pt x="133485" y="183960"/>
                    <a:pt x="126893" y="186354"/>
                  </a:cubicBezTo>
                  <a:cubicBezTo>
                    <a:pt x="120174" y="188622"/>
                    <a:pt x="112822" y="189882"/>
                    <a:pt x="104836" y="189882"/>
                  </a:cubicBezTo>
                  <a:cubicBezTo>
                    <a:pt x="92413" y="189882"/>
                    <a:pt x="81511" y="187236"/>
                    <a:pt x="72130" y="181818"/>
                  </a:cubicBezTo>
                  <a:cubicBezTo>
                    <a:pt x="62876" y="176526"/>
                    <a:pt x="55524" y="168714"/>
                    <a:pt x="50453" y="158508"/>
                  </a:cubicBezTo>
                  <a:cubicBezTo>
                    <a:pt x="45636" y="149058"/>
                    <a:pt x="43354" y="137592"/>
                    <a:pt x="42974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1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8748"/>
                    <a:pt x="33086" y="201726"/>
                    <a:pt x="48552" y="210924"/>
                  </a:cubicBezTo>
                  <a:close/>
                  <a:moveTo>
                    <a:pt x="49693" y="66150"/>
                  </a:moveTo>
                  <a:cubicBezTo>
                    <a:pt x="54510" y="56826"/>
                    <a:pt x="61355" y="49266"/>
                    <a:pt x="70229" y="43470"/>
                  </a:cubicBezTo>
                  <a:cubicBezTo>
                    <a:pt x="79102" y="37674"/>
                    <a:pt x="89497" y="34776"/>
                    <a:pt x="101540" y="34776"/>
                  </a:cubicBezTo>
                  <a:cubicBezTo>
                    <a:pt x="112568" y="34776"/>
                    <a:pt x="122203" y="37296"/>
                    <a:pt x="130443" y="42336"/>
                  </a:cubicBezTo>
                  <a:cubicBezTo>
                    <a:pt x="138682" y="47376"/>
                    <a:pt x="145021" y="54180"/>
                    <a:pt x="149584" y="62874"/>
                  </a:cubicBezTo>
                  <a:cubicBezTo>
                    <a:pt x="154148" y="71568"/>
                    <a:pt x="156430" y="81396"/>
                    <a:pt x="156430" y="92610"/>
                  </a:cubicBezTo>
                  <a:lnTo>
                    <a:pt x="42974" y="92610"/>
                  </a:lnTo>
                  <a:cubicBezTo>
                    <a:pt x="43481" y="83160"/>
                    <a:pt x="45509" y="74340"/>
                    <a:pt x="49693" y="6615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5" name="Freihandform 21">
              <a:extLst>
                <a:ext uri="{FF2B5EF4-FFF2-40B4-BE49-F238E27FC236}">
                  <a16:creationId xmlns:a16="http://schemas.microsoft.com/office/drawing/2014/main" id="{1E2BB517-8F29-4022-AE5A-40B42F664F3A}"/>
                </a:ext>
              </a:extLst>
            </p:cNvPr>
            <p:cNvSpPr/>
            <p:nvPr/>
          </p:nvSpPr>
          <p:spPr bwMode="invGray">
            <a:xfrm>
              <a:off x="1466698" y="287687"/>
              <a:ext cx="25638" cy="48322"/>
            </a:xfrm>
            <a:custGeom>
              <a:avLst/>
              <a:gdLst>
                <a:gd name="connsiteX0" fmla="*/ 42720 w 117258"/>
                <a:gd name="connsiteY0" fmla="*/ 88074 h 221003"/>
                <a:gd name="connsiteX1" fmla="*/ 49566 w 117258"/>
                <a:gd name="connsiteY1" fmla="*/ 62748 h 221003"/>
                <a:gd name="connsiteX2" fmla="*/ 68200 w 117258"/>
                <a:gd name="connsiteY2" fmla="*/ 45360 h 221003"/>
                <a:gd name="connsiteX3" fmla="*/ 95075 w 117258"/>
                <a:gd name="connsiteY3" fmla="*/ 39060 h 221003"/>
                <a:gd name="connsiteX4" fmla="*/ 108132 w 117258"/>
                <a:gd name="connsiteY4" fmla="*/ 39942 h 221003"/>
                <a:gd name="connsiteX5" fmla="*/ 117259 w 117258"/>
                <a:gd name="connsiteY5" fmla="*/ 41580 h 221003"/>
                <a:gd name="connsiteX6" fmla="*/ 117259 w 117258"/>
                <a:gd name="connsiteY6" fmla="*/ 1008 h 221003"/>
                <a:gd name="connsiteX7" fmla="*/ 108639 w 117258"/>
                <a:gd name="connsiteY7" fmla="*/ 252 h 221003"/>
                <a:gd name="connsiteX8" fmla="*/ 99131 w 117258"/>
                <a:gd name="connsiteY8" fmla="*/ 0 h 221003"/>
                <a:gd name="connsiteX9" fmla="*/ 64651 w 117258"/>
                <a:gd name="connsiteY9" fmla="*/ 10080 h 221003"/>
                <a:gd name="connsiteX10" fmla="*/ 43481 w 117258"/>
                <a:gd name="connsiteY10" fmla="*/ 37800 h 221003"/>
                <a:gd name="connsiteX11" fmla="*/ 41199 w 117258"/>
                <a:gd name="connsiteY11" fmla="*/ 37800 h 221003"/>
                <a:gd name="connsiteX12" fmla="*/ 41199 w 117258"/>
                <a:gd name="connsiteY12" fmla="*/ 3276 h 221003"/>
                <a:gd name="connsiteX13" fmla="*/ 0 w 117258"/>
                <a:gd name="connsiteY13" fmla="*/ 3276 h 221003"/>
                <a:gd name="connsiteX14" fmla="*/ 0 w 117258"/>
                <a:gd name="connsiteY14" fmla="*/ 221004 h 221003"/>
                <a:gd name="connsiteX15" fmla="*/ 42720 w 117258"/>
                <a:gd name="connsiteY15" fmla="*/ 221004 h 221003"/>
                <a:gd name="connsiteX16" fmla="*/ 42720 w 117258"/>
                <a:gd name="connsiteY16" fmla="*/ 88074 h 22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3">
                  <a:moveTo>
                    <a:pt x="42720" y="88074"/>
                  </a:move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6" name="Freihandform 22">
              <a:extLst>
                <a:ext uri="{FF2B5EF4-FFF2-40B4-BE49-F238E27FC236}">
                  <a16:creationId xmlns:a16="http://schemas.microsoft.com/office/drawing/2014/main" id="{0C728F05-57FE-4401-8837-450B15131652}"/>
                </a:ext>
              </a:extLst>
            </p:cNvPr>
            <p:cNvSpPr/>
            <p:nvPr/>
          </p:nvSpPr>
          <p:spPr bwMode="invGray">
            <a:xfrm>
              <a:off x="1500430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7" name="Freihandform 23">
              <a:extLst>
                <a:ext uri="{FF2B5EF4-FFF2-40B4-BE49-F238E27FC236}">
                  <a16:creationId xmlns:a16="http://schemas.microsoft.com/office/drawing/2014/main" id="{139BA451-36CE-4C7D-8CDD-B97DEAC6048F}"/>
                </a:ext>
              </a:extLst>
            </p:cNvPr>
            <p:cNvSpPr/>
            <p:nvPr/>
          </p:nvSpPr>
          <p:spPr bwMode="invGray">
            <a:xfrm>
              <a:off x="1499266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4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184" y="48132"/>
                    <a:pt x="19522" y="50652"/>
                    <a:pt x="26874" y="506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8" name="Freihandform 24">
              <a:extLst>
                <a:ext uri="{FF2B5EF4-FFF2-40B4-BE49-F238E27FC236}">
                  <a16:creationId xmlns:a16="http://schemas.microsoft.com/office/drawing/2014/main" id="{249EBBFB-F3E2-46CC-A091-037BADCC2169}"/>
                </a:ext>
              </a:extLst>
            </p:cNvPr>
            <p:cNvSpPr/>
            <p:nvPr/>
          </p:nvSpPr>
          <p:spPr bwMode="invGray">
            <a:xfrm>
              <a:off x="1522355" y="287769"/>
              <a:ext cx="39941" cy="48267"/>
            </a:xfrm>
            <a:custGeom>
              <a:avLst/>
              <a:gdLst>
                <a:gd name="connsiteX0" fmla="*/ 182670 w 182670"/>
                <a:gd name="connsiteY0" fmla="*/ 220752 h 220751"/>
                <a:gd name="connsiteX1" fmla="*/ 182670 w 182670"/>
                <a:gd name="connsiteY1" fmla="*/ 82152 h 220751"/>
                <a:gd name="connsiteX2" fmla="*/ 173416 w 182670"/>
                <a:gd name="connsiteY2" fmla="*/ 36918 h 220751"/>
                <a:gd name="connsiteX3" fmla="*/ 147303 w 182670"/>
                <a:gd name="connsiteY3" fmla="*/ 9324 h 220751"/>
                <a:gd name="connsiteX4" fmla="*/ 108132 w 182670"/>
                <a:gd name="connsiteY4" fmla="*/ 0 h 220751"/>
                <a:gd name="connsiteX5" fmla="*/ 67313 w 182670"/>
                <a:gd name="connsiteY5" fmla="*/ 10458 h 220751"/>
                <a:gd name="connsiteX6" fmla="*/ 43608 w 182670"/>
                <a:gd name="connsiteY6" fmla="*/ 38304 h 220751"/>
                <a:gd name="connsiteX7" fmla="*/ 40946 w 182670"/>
                <a:gd name="connsiteY7" fmla="*/ 38304 h 220751"/>
                <a:gd name="connsiteX8" fmla="*/ 40946 w 182670"/>
                <a:gd name="connsiteY8" fmla="*/ 2898 h 220751"/>
                <a:gd name="connsiteX9" fmla="*/ 0 w 182670"/>
                <a:gd name="connsiteY9" fmla="*/ 2898 h 220751"/>
                <a:gd name="connsiteX10" fmla="*/ 0 w 182670"/>
                <a:gd name="connsiteY10" fmla="*/ 220626 h 220751"/>
                <a:gd name="connsiteX11" fmla="*/ 42721 w 182670"/>
                <a:gd name="connsiteY11" fmla="*/ 220626 h 220751"/>
                <a:gd name="connsiteX12" fmla="*/ 42721 w 182670"/>
                <a:gd name="connsiteY12" fmla="*/ 91350 h 220751"/>
                <a:gd name="connsiteX13" fmla="*/ 49312 w 182670"/>
                <a:gd name="connsiteY13" fmla="*/ 61740 h 220751"/>
                <a:gd name="connsiteX14" fmla="*/ 67440 w 182670"/>
                <a:gd name="connsiteY14" fmla="*/ 43092 h 220751"/>
                <a:gd name="connsiteX15" fmla="*/ 93807 w 182670"/>
                <a:gd name="connsiteY15" fmla="*/ 36666 h 220751"/>
                <a:gd name="connsiteX16" fmla="*/ 127907 w 182670"/>
                <a:gd name="connsiteY16" fmla="*/ 50022 h 220751"/>
                <a:gd name="connsiteX17" fmla="*/ 140330 w 182670"/>
                <a:gd name="connsiteY17" fmla="*/ 87066 h 220751"/>
                <a:gd name="connsiteX18" fmla="*/ 140330 w 182670"/>
                <a:gd name="connsiteY18" fmla="*/ 220500 h 220751"/>
                <a:gd name="connsiteX19" fmla="*/ 182670 w 182670"/>
                <a:gd name="connsiteY19" fmla="*/ 220500 h 220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751">
                  <a:moveTo>
                    <a:pt x="182670" y="220752"/>
                  </a:moveTo>
                  <a:lnTo>
                    <a:pt x="182670" y="82152"/>
                  </a:lnTo>
                  <a:cubicBezTo>
                    <a:pt x="182670" y="64260"/>
                    <a:pt x="179628" y="49140"/>
                    <a:pt x="173416" y="36918"/>
                  </a:cubicBezTo>
                  <a:cubicBezTo>
                    <a:pt x="167205" y="24696"/>
                    <a:pt x="158585" y="15498"/>
                    <a:pt x="147303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2" y="26712"/>
                    <a:pt x="43608" y="38304"/>
                  </a:cubicBezTo>
                  <a:lnTo>
                    <a:pt x="40946" y="38304"/>
                  </a:lnTo>
                  <a:lnTo>
                    <a:pt x="40946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1" y="220626"/>
                  </a:lnTo>
                  <a:lnTo>
                    <a:pt x="42721" y="91350"/>
                  </a:lnTo>
                  <a:cubicBezTo>
                    <a:pt x="42721" y="79884"/>
                    <a:pt x="44875" y="69930"/>
                    <a:pt x="49312" y="61740"/>
                  </a:cubicBezTo>
                  <a:cubicBezTo>
                    <a:pt x="53749" y="53550"/>
                    <a:pt x="59707" y="47376"/>
                    <a:pt x="67440" y="43092"/>
                  </a:cubicBezTo>
                  <a:cubicBezTo>
                    <a:pt x="75173" y="38808"/>
                    <a:pt x="83920" y="36666"/>
                    <a:pt x="93807" y="36666"/>
                  </a:cubicBezTo>
                  <a:cubicBezTo>
                    <a:pt x="108258" y="36666"/>
                    <a:pt x="119667" y="41076"/>
                    <a:pt x="127907" y="50022"/>
                  </a:cubicBezTo>
                  <a:cubicBezTo>
                    <a:pt x="136147" y="58968"/>
                    <a:pt x="140330" y="71316"/>
                    <a:pt x="140330" y="87066"/>
                  </a:cubicBezTo>
                  <a:lnTo>
                    <a:pt x="140330" y="220500"/>
                  </a:lnTo>
                  <a:lnTo>
                    <a:pt x="182670" y="22050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9" name="Freihandform 25">
              <a:extLst>
                <a:ext uri="{FF2B5EF4-FFF2-40B4-BE49-F238E27FC236}">
                  <a16:creationId xmlns:a16="http://schemas.microsoft.com/office/drawing/2014/main" id="{DCDE3BF8-38D7-49D1-99BC-C197D071097F}"/>
                </a:ext>
              </a:extLst>
            </p:cNvPr>
            <p:cNvSpPr/>
            <p:nvPr/>
          </p:nvSpPr>
          <p:spPr bwMode="invGray">
            <a:xfrm>
              <a:off x="1572634" y="287797"/>
              <a:ext cx="43766" cy="66974"/>
            </a:xfrm>
            <a:custGeom>
              <a:avLst/>
              <a:gdLst>
                <a:gd name="connsiteX0" fmla="*/ 158585 w 200163"/>
                <a:gd name="connsiteY0" fmla="*/ 2772 h 306306"/>
                <a:gd name="connsiteX1" fmla="*/ 158585 w 200163"/>
                <a:gd name="connsiteY1" fmla="*/ 38052 h 306306"/>
                <a:gd name="connsiteX2" fmla="*/ 155415 w 200163"/>
                <a:gd name="connsiteY2" fmla="*/ 38052 h 306306"/>
                <a:gd name="connsiteX3" fmla="*/ 144513 w 200163"/>
                <a:gd name="connsiteY3" fmla="*/ 22302 h 306306"/>
                <a:gd name="connsiteX4" fmla="*/ 124865 w 200163"/>
                <a:gd name="connsiteY4" fmla="*/ 6678 h 306306"/>
                <a:gd name="connsiteX5" fmla="*/ 91905 w 200163"/>
                <a:gd name="connsiteY5" fmla="*/ 0 h 306306"/>
                <a:gd name="connsiteX6" fmla="*/ 44622 w 200163"/>
                <a:gd name="connsiteY6" fmla="*/ 13230 h 306306"/>
                <a:gd name="connsiteX7" fmla="*/ 11916 w 200163"/>
                <a:gd name="connsiteY7" fmla="*/ 51282 h 306306"/>
                <a:gd name="connsiteX8" fmla="*/ 0 w 200163"/>
                <a:gd name="connsiteY8" fmla="*/ 110880 h 306306"/>
                <a:gd name="connsiteX9" fmla="*/ 12043 w 200163"/>
                <a:gd name="connsiteY9" fmla="*/ 169344 h 306306"/>
                <a:gd name="connsiteX10" fmla="*/ 44875 w 200163"/>
                <a:gd name="connsiteY10" fmla="*/ 205254 h 306306"/>
                <a:gd name="connsiteX11" fmla="*/ 91525 w 200163"/>
                <a:gd name="connsiteY11" fmla="*/ 217350 h 306306"/>
                <a:gd name="connsiteX12" fmla="*/ 124231 w 200163"/>
                <a:gd name="connsiteY12" fmla="*/ 211050 h 306306"/>
                <a:gd name="connsiteX13" fmla="*/ 144006 w 200163"/>
                <a:gd name="connsiteY13" fmla="*/ 196308 h 306306"/>
                <a:gd name="connsiteX14" fmla="*/ 155035 w 200163"/>
                <a:gd name="connsiteY14" fmla="*/ 180810 h 306306"/>
                <a:gd name="connsiteX15" fmla="*/ 157697 w 200163"/>
                <a:gd name="connsiteY15" fmla="*/ 180810 h 306306"/>
                <a:gd name="connsiteX16" fmla="*/ 157697 w 200163"/>
                <a:gd name="connsiteY16" fmla="*/ 223650 h 306306"/>
                <a:gd name="connsiteX17" fmla="*/ 141851 w 200163"/>
                <a:gd name="connsiteY17" fmla="*/ 260568 h 306306"/>
                <a:gd name="connsiteX18" fmla="*/ 101793 w 200163"/>
                <a:gd name="connsiteY18" fmla="*/ 272160 h 306306"/>
                <a:gd name="connsiteX19" fmla="*/ 72891 w 200163"/>
                <a:gd name="connsiteY19" fmla="*/ 267246 h 306306"/>
                <a:gd name="connsiteX20" fmla="*/ 55270 w 200163"/>
                <a:gd name="connsiteY20" fmla="*/ 255276 h 306306"/>
                <a:gd name="connsiteX21" fmla="*/ 44875 w 200163"/>
                <a:gd name="connsiteY21" fmla="*/ 242424 h 306306"/>
                <a:gd name="connsiteX22" fmla="*/ 8240 w 200163"/>
                <a:gd name="connsiteY22" fmla="*/ 257418 h 306306"/>
                <a:gd name="connsiteX23" fmla="*/ 25860 w 200163"/>
                <a:gd name="connsiteY23" fmla="*/ 281610 h 306306"/>
                <a:gd name="connsiteX24" fmla="*/ 56411 w 200163"/>
                <a:gd name="connsiteY24" fmla="*/ 299502 h 306306"/>
                <a:gd name="connsiteX25" fmla="*/ 101286 w 200163"/>
                <a:gd name="connsiteY25" fmla="*/ 306306 h 306306"/>
                <a:gd name="connsiteX26" fmla="*/ 151486 w 200163"/>
                <a:gd name="connsiteY26" fmla="*/ 297612 h 306306"/>
                <a:gd name="connsiteX27" fmla="*/ 186980 w 200163"/>
                <a:gd name="connsiteY27" fmla="*/ 271026 h 306306"/>
                <a:gd name="connsiteX28" fmla="*/ 200164 w 200163"/>
                <a:gd name="connsiteY28" fmla="*/ 225288 h 306306"/>
                <a:gd name="connsiteX29" fmla="*/ 200164 w 200163"/>
                <a:gd name="connsiteY29" fmla="*/ 2772 h 306306"/>
                <a:gd name="connsiteX30" fmla="*/ 158585 w 200163"/>
                <a:gd name="connsiteY30" fmla="*/ 2772 h 306306"/>
                <a:gd name="connsiteX31" fmla="*/ 151739 w 200163"/>
                <a:gd name="connsiteY31" fmla="*/ 148932 h 306306"/>
                <a:gd name="connsiteX32" fmla="*/ 132344 w 200163"/>
                <a:gd name="connsiteY32" fmla="*/ 173628 h 306306"/>
                <a:gd name="connsiteX33" fmla="*/ 101160 w 200163"/>
                <a:gd name="connsiteY33" fmla="*/ 182196 h 306306"/>
                <a:gd name="connsiteX34" fmla="*/ 69341 w 200163"/>
                <a:gd name="connsiteY34" fmla="*/ 173124 h 306306"/>
                <a:gd name="connsiteX35" fmla="*/ 49946 w 200163"/>
                <a:gd name="connsiteY35" fmla="*/ 147924 h 306306"/>
                <a:gd name="connsiteX36" fmla="*/ 43354 w 200163"/>
                <a:gd name="connsiteY36" fmla="*/ 110376 h 306306"/>
                <a:gd name="connsiteX37" fmla="*/ 49819 w 200163"/>
                <a:gd name="connsiteY37" fmla="*/ 72702 h 306306"/>
                <a:gd name="connsiteX38" fmla="*/ 69088 w 200163"/>
                <a:gd name="connsiteY38" fmla="*/ 45990 h 306306"/>
                <a:gd name="connsiteX39" fmla="*/ 101160 w 200163"/>
                <a:gd name="connsiteY39" fmla="*/ 36162 h 306306"/>
                <a:gd name="connsiteX40" fmla="*/ 132597 w 200163"/>
                <a:gd name="connsiteY40" fmla="*/ 45612 h 306306"/>
                <a:gd name="connsiteX41" fmla="*/ 151866 w 200163"/>
                <a:gd name="connsiteY41" fmla="*/ 71820 h 306306"/>
                <a:gd name="connsiteX42" fmla="*/ 158458 w 200163"/>
                <a:gd name="connsiteY42" fmla="*/ 110502 h 306306"/>
                <a:gd name="connsiteX43" fmla="*/ 151739 w 200163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163" h="306306">
                  <a:moveTo>
                    <a:pt x="158585" y="2772"/>
                  </a:move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6" y="196308"/>
                  </a:cubicBezTo>
                  <a:cubicBezTo>
                    <a:pt x="148823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2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19921" y="306306"/>
                    <a:pt x="136654" y="303408"/>
                    <a:pt x="151486" y="297612"/>
                  </a:cubicBezTo>
                  <a:cubicBezTo>
                    <a:pt x="166317" y="291816"/>
                    <a:pt x="178233" y="282996"/>
                    <a:pt x="186980" y="271026"/>
                  </a:cubicBezTo>
                  <a:cubicBezTo>
                    <a:pt x="195727" y="259056"/>
                    <a:pt x="200164" y="243810"/>
                    <a:pt x="200164" y="225288"/>
                  </a:cubicBezTo>
                  <a:lnTo>
                    <a:pt x="200164" y="2772"/>
                  </a:lnTo>
                  <a:lnTo>
                    <a:pt x="158585" y="2772"/>
                  </a:lnTo>
                  <a:close/>
                  <a:moveTo>
                    <a:pt x="151739" y="148932"/>
                  </a:moveTo>
                  <a:cubicBezTo>
                    <a:pt x="147302" y="159642"/>
                    <a:pt x="140837" y="167832"/>
                    <a:pt x="132344" y="173628"/>
                  </a:cubicBezTo>
                  <a:cubicBezTo>
                    <a:pt x="123850" y="179298"/>
                    <a:pt x="113456" y="182196"/>
                    <a:pt x="101160" y="182196"/>
                  </a:cubicBezTo>
                  <a:cubicBezTo>
                    <a:pt x="88483" y="182196"/>
                    <a:pt x="77834" y="179172"/>
                    <a:pt x="69341" y="173124"/>
                  </a:cubicBezTo>
                  <a:cubicBezTo>
                    <a:pt x="60848" y="167076"/>
                    <a:pt x="54256" y="158634"/>
                    <a:pt x="49946" y="147924"/>
                  </a:cubicBezTo>
                  <a:cubicBezTo>
                    <a:pt x="45509" y="137088"/>
                    <a:pt x="43354" y="124614"/>
                    <a:pt x="43354" y="110376"/>
                  </a:cubicBezTo>
                  <a:cubicBezTo>
                    <a:pt x="43354" y="96516"/>
                    <a:pt x="45509" y="83916"/>
                    <a:pt x="49819" y="72702"/>
                  </a:cubicBezTo>
                  <a:cubicBezTo>
                    <a:pt x="54129" y="61488"/>
                    <a:pt x="60594" y="52542"/>
                    <a:pt x="69088" y="45990"/>
                  </a:cubicBezTo>
                  <a:cubicBezTo>
                    <a:pt x="77581" y="39438"/>
                    <a:pt x="88356" y="36162"/>
                    <a:pt x="101160" y="36162"/>
                  </a:cubicBezTo>
                  <a:cubicBezTo>
                    <a:pt x="113582" y="36162"/>
                    <a:pt x="124104" y="39312"/>
                    <a:pt x="132597" y="45612"/>
                  </a:cubicBezTo>
                  <a:cubicBezTo>
                    <a:pt x="141091" y="51912"/>
                    <a:pt x="147429" y="60606"/>
                    <a:pt x="151866" y="71820"/>
                  </a:cubicBezTo>
                  <a:cubicBezTo>
                    <a:pt x="156176" y="83034"/>
                    <a:pt x="158458" y="95886"/>
                    <a:pt x="158458" y="110502"/>
                  </a:cubicBezTo>
                  <a:cubicBezTo>
                    <a:pt x="158331" y="125370"/>
                    <a:pt x="156176" y="138222"/>
                    <a:pt x="151739" y="14893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0" name="Freihandform 26">
              <a:extLst>
                <a:ext uri="{FF2B5EF4-FFF2-40B4-BE49-F238E27FC236}">
                  <a16:creationId xmlns:a16="http://schemas.microsoft.com/office/drawing/2014/main" id="{D35E5E15-C461-4439-AC18-BA347E8E9B02}"/>
                </a:ext>
              </a:extLst>
            </p:cNvPr>
            <p:cNvSpPr/>
            <p:nvPr/>
          </p:nvSpPr>
          <p:spPr bwMode="invGray">
            <a:xfrm>
              <a:off x="1125303" y="358490"/>
              <a:ext cx="29408" cy="66478"/>
            </a:xfrm>
            <a:custGeom>
              <a:avLst/>
              <a:gdLst>
                <a:gd name="connsiteX0" fmla="*/ 33974 w 134499"/>
                <a:gd name="connsiteY0" fmla="*/ 304038 h 304038"/>
                <a:gd name="connsiteX1" fmla="*/ 76567 w 134499"/>
                <a:gd name="connsiteY1" fmla="*/ 304038 h 304038"/>
                <a:gd name="connsiteX2" fmla="*/ 76567 w 134499"/>
                <a:gd name="connsiteY2" fmla="*/ 120204 h 304038"/>
                <a:gd name="connsiteX3" fmla="*/ 123851 w 134499"/>
                <a:gd name="connsiteY3" fmla="*/ 120204 h 304038"/>
                <a:gd name="connsiteX4" fmla="*/ 123851 w 134499"/>
                <a:gd name="connsiteY4" fmla="*/ 86184 h 304038"/>
                <a:gd name="connsiteX5" fmla="*/ 76567 w 134499"/>
                <a:gd name="connsiteY5" fmla="*/ 86184 h 304038"/>
                <a:gd name="connsiteX6" fmla="*/ 76567 w 134499"/>
                <a:gd name="connsiteY6" fmla="*/ 66654 h 304038"/>
                <a:gd name="connsiteX7" fmla="*/ 83159 w 134499"/>
                <a:gd name="connsiteY7" fmla="*/ 44478 h 304038"/>
                <a:gd name="connsiteX8" fmla="*/ 105343 w 134499"/>
                <a:gd name="connsiteY8" fmla="*/ 36792 h 304038"/>
                <a:gd name="connsiteX9" fmla="*/ 116752 w 134499"/>
                <a:gd name="connsiteY9" fmla="*/ 38052 h 304038"/>
                <a:gd name="connsiteX10" fmla="*/ 124484 w 134499"/>
                <a:gd name="connsiteY10" fmla="*/ 40068 h 304038"/>
                <a:gd name="connsiteX11" fmla="*/ 134499 w 134499"/>
                <a:gd name="connsiteY11" fmla="*/ 5796 h 304038"/>
                <a:gd name="connsiteX12" fmla="*/ 120935 w 134499"/>
                <a:gd name="connsiteY12" fmla="*/ 2016 h 304038"/>
                <a:gd name="connsiteX13" fmla="*/ 99005 w 134499"/>
                <a:gd name="connsiteY13" fmla="*/ 0 h 304038"/>
                <a:gd name="connsiteX14" fmla="*/ 66806 w 134499"/>
                <a:gd name="connsiteY14" fmla="*/ 6804 h 304038"/>
                <a:gd name="connsiteX15" fmla="*/ 42974 w 134499"/>
                <a:gd name="connsiteY15" fmla="*/ 27090 h 304038"/>
                <a:gd name="connsiteX16" fmla="*/ 33974 w 134499"/>
                <a:gd name="connsiteY16" fmla="*/ 60984 h 304038"/>
                <a:gd name="connsiteX17" fmla="*/ 33974 w 134499"/>
                <a:gd name="connsiteY17" fmla="*/ 86184 h 304038"/>
                <a:gd name="connsiteX18" fmla="*/ 0 w 134499"/>
                <a:gd name="connsiteY18" fmla="*/ 86184 h 304038"/>
                <a:gd name="connsiteX19" fmla="*/ 0 w 134499"/>
                <a:gd name="connsiteY19" fmla="*/ 120204 h 304038"/>
                <a:gd name="connsiteX20" fmla="*/ 33974 w 134499"/>
                <a:gd name="connsiteY20" fmla="*/ 120204 h 304038"/>
                <a:gd name="connsiteX21" fmla="*/ 33974 w 134499"/>
                <a:gd name="connsiteY21" fmla="*/ 304038 h 304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4499" h="304038">
                  <a:moveTo>
                    <a:pt x="33974" y="304038"/>
                  </a:moveTo>
                  <a:lnTo>
                    <a:pt x="76567" y="304038"/>
                  </a:lnTo>
                  <a:lnTo>
                    <a:pt x="76567" y="120204"/>
                  </a:lnTo>
                  <a:lnTo>
                    <a:pt x="123851" y="120204"/>
                  </a:lnTo>
                  <a:lnTo>
                    <a:pt x="123851" y="86184"/>
                  </a:lnTo>
                  <a:lnTo>
                    <a:pt x="76567" y="86184"/>
                  </a:lnTo>
                  <a:lnTo>
                    <a:pt x="76567" y="66654"/>
                  </a:lnTo>
                  <a:cubicBezTo>
                    <a:pt x="76567" y="56952"/>
                    <a:pt x="78849" y="49644"/>
                    <a:pt x="83159" y="44478"/>
                  </a:cubicBezTo>
                  <a:cubicBezTo>
                    <a:pt x="87595" y="39438"/>
                    <a:pt x="94948" y="36792"/>
                    <a:pt x="105343" y="36792"/>
                  </a:cubicBezTo>
                  <a:cubicBezTo>
                    <a:pt x="109780" y="36792"/>
                    <a:pt x="113583" y="37170"/>
                    <a:pt x="116752" y="38052"/>
                  </a:cubicBezTo>
                  <a:cubicBezTo>
                    <a:pt x="119921" y="38808"/>
                    <a:pt x="122456" y="39564"/>
                    <a:pt x="124484" y="40068"/>
                  </a:cubicBezTo>
                  <a:lnTo>
                    <a:pt x="134499" y="5796"/>
                  </a:lnTo>
                  <a:cubicBezTo>
                    <a:pt x="131583" y="4662"/>
                    <a:pt x="127020" y="3402"/>
                    <a:pt x="120935" y="2016"/>
                  </a:cubicBezTo>
                  <a:cubicBezTo>
                    <a:pt x="114851" y="630"/>
                    <a:pt x="107498" y="0"/>
                    <a:pt x="99005" y="0"/>
                  </a:cubicBezTo>
                  <a:cubicBezTo>
                    <a:pt x="87469" y="0"/>
                    <a:pt x="76694" y="2268"/>
                    <a:pt x="66806" y="6804"/>
                  </a:cubicBezTo>
                  <a:cubicBezTo>
                    <a:pt x="56918" y="11340"/>
                    <a:pt x="48932" y="18018"/>
                    <a:pt x="42974" y="27090"/>
                  </a:cubicBezTo>
                  <a:cubicBezTo>
                    <a:pt x="37016" y="36162"/>
                    <a:pt x="33974" y="47376"/>
                    <a:pt x="33974" y="60984"/>
                  </a:cubicBezTo>
                  <a:lnTo>
                    <a:pt x="33974" y="86184"/>
                  </a:lnTo>
                  <a:lnTo>
                    <a:pt x="0" y="86184"/>
                  </a:lnTo>
                  <a:lnTo>
                    <a:pt x="0" y="120204"/>
                  </a:lnTo>
                  <a:lnTo>
                    <a:pt x="33974" y="120204"/>
                  </a:lnTo>
                  <a:lnTo>
                    <a:pt x="33974" y="30403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1" name="Freihandform 27">
              <a:extLst>
                <a:ext uri="{FF2B5EF4-FFF2-40B4-BE49-F238E27FC236}">
                  <a16:creationId xmlns:a16="http://schemas.microsoft.com/office/drawing/2014/main" id="{6C5BF7EA-6C05-489E-9BEF-0CFEC8C016FB}"/>
                </a:ext>
              </a:extLst>
            </p:cNvPr>
            <p:cNvSpPr/>
            <p:nvPr/>
          </p:nvSpPr>
          <p:spPr bwMode="invGray">
            <a:xfrm>
              <a:off x="1159174" y="376728"/>
              <a:ext cx="44625" cy="49176"/>
            </a:xfrm>
            <a:custGeom>
              <a:avLst/>
              <a:gdLst>
                <a:gd name="connsiteX0" fmla="*/ 204094 w 204093"/>
                <a:gd name="connsiteY0" fmla="*/ 112644 h 224909"/>
                <a:gd name="connsiteX1" fmla="*/ 191417 w 204093"/>
                <a:gd name="connsiteY1" fmla="*/ 53424 h 224909"/>
                <a:gd name="connsiteX2" fmla="*/ 155796 w 204093"/>
                <a:gd name="connsiteY2" fmla="*/ 13986 h 224909"/>
                <a:gd name="connsiteX3" fmla="*/ 102047 w 204093"/>
                <a:gd name="connsiteY3" fmla="*/ 0 h 224909"/>
                <a:gd name="connsiteX4" fmla="*/ 48298 w 204093"/>
                <a:gd name="connsiteY4" fmla="*/ 13986 h 224909"/>
                <a:gd name="connsiteX5" fmla="*/ 12677 w 204093"/>
                <a:gd name="connsiteY5" fmla="*/ 53424 h 224909"/>
                <a:gd name="connsiteX6" fmla="*/ 0 w 204093"/>
                <a:gd name="connsiteY6" fmla="*/ 112644 h 224909"/>
                <a:gd name="connsiteX7" fmla="*/ 12677 w 204093"/>
                <a:gd name="connsiteY7" fmla="*/ 171612 h 224909"/>
                <a:gd name="connsiteX8" fmla="*/ 48298 w 204093"/>
                <a:gd name="connsiteY8" fmla="*/ 210924 h 224909"/>
                <a:gd name="connsiteX9" fmla="*/ 102047 w 204093"/>
                <a:gd name="connsiteY9" fmla="*/ 224910 h 224909"/>
                <a:gd name="connsiteX10" fmla="*/ 155796 w 204093"/>
                <a:gd name="connsiteY10" fmla="*/ 210924 h 224909"/>
                <a:gd name="connsiteX11" fmla="*/ 191417 w 204093"/>
                <a:gd name="connsiteY11" fmla="*/ 171612 h 224909"/>
                <a:gd name="connsiteX12" fmla="*/ 204094 w 204093"/>
                <a:gd name="connsiteY12" fmla="*/ 112644 h 224909"/>
                <a:gd name="connsiteX13" fmla="*/ 154655 w 204093"/>
                <a:gd name="connsiteY13" fmla="*/ 150948 h 224909"/>
                <a:gd name="connsiteX14" fmla="*/ 135133 w 204093"/>
                <a:gd name="connsiteY14" fmla="*/ 178920 h 224909"/>
                <a:gd name="connsiteX15" fmla="*/ 102047 w 204093"/>
                <a:gd name="connsiteY15" fmla="*/ 189378 h 224909"/>
                <a:gd name="connsiteX16" fmla="*/ 68707 w 204093"/>
                <a:gd name="connsiteY16" fmla="*/ 178920 h 224909"/>
                <a:gd name="connsiteX17" fmla="*/ 49185 w 204093"/>
                <a:gd name="connsiteY17" fmla="*/ 150948 h 224909"/>
                <a:gd name="connsiteX18" fmla="*/ 42847 w 204093"/>
                <a:gd name="connsiteY18" fmla="*/ 112518 h 224909"/>
                <a:gd name="connsiteX19" fmla="*/ 49185 w 204093"/>
                <a:gd name="connsiteY19" fmla="*/ 74214 h 224909"/>
                <a:gd name="connsiteX20" fmla="*/ 68707 w 204093"/>
                <a:gd name="connsiteY20" fmla="*/ 46116 h 224909"/>
                <a:gd name="connsiteX21" fmla="*/ 102047 w 204093"/>
                <a:gd name="connsiteY21" fmla="*/ 35532 h 224909"/>
                <a:gd name="connsiteX22" fmla="*/ 135133 w 204093"/>
                <a:gd name="connsiteY22" fmla="*/ 46116 h 224909"/>
                <a:gd name="connsiteX23" fmla="*/ 154655 w 204093"/>
                <a:gd name="connsiteY23" fmla="*/ 74214 h 224909"/>
                <a:gd name="connsiteX24" fmla="*/ 160993 w 204093"/>
                <a:gd name="connsiteY24" fmla="*/ 112518 h 224909"/>
                <a:gd name="connsiteX25" fmla="*/ 154655 w 204093"/>
                <a:gd name="connsiteY25" fmla="*/ 150948 h 22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09">
                  <a:moveTo>
                    <a:pt x="204094" y="112644"/>
                  </a:moveTo>
                  <a:cubicBezTo>
                    <a:pt x="204094" y="90090"/>
                    <a:pt x="199911" y="70308"/>
                    <a:pt x="191417" y="53424"/>
                  </a:cubicBezTo>
                  <a:cubicBezTo>
                    <a:pt x="182924" y="36540"/>
                    <a:pt x="171008" y="23436"/>
                    <a:pt x="155796" y="13986"/>
                  </a:cubicBez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7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4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7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1" y="154854"/>
                    <a:pt x="204094" y="135198"/>
                    <a:pt x="204094" y="112644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10" y="189378"/>
                    <a:pt x="77581" y="185850"/>
                    <a:pt x="68707" y="178920"/>
                  </a:cubicBezTo>
                  <a:cubicBezTo>
                    <a:pt x="59961" y="171990"/>
                    <a:pt x="53369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9" y="62496"/>
                    <a:pt x="59961" y="53172"/>
                    <a:pt x="68707" y="46116"/>
                  </a:cubicBezTo>
                  <a:cubicBezTo>
                    <a:pt x="77454" y="39060"/>
                    <a:pt x="88610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2" name="Freihandform 28">
              <a:extLst>
                <a:ext uri="{FF2B5EF4-FFF2-40B4-BE49-F238E27FC236}">
                  <a16:creationId xmlns:a16="http://schemas.microsoft.com/office/drawing/2014/main" id="{6EFBF79A-4A51-48BF-89A7-AA431ACDE9A8}"/>
                </a:ext>
              </a:extLst>
            </p:cNvPr>
            <p:cNvSpPr/>
            <p:nvPr/>
          </p:nvSpPr>
          <p:spPr bwMode="invGray">
            <a:xfrm>
              <a:off x="1213472" y="376618"/>
              <a:ext cx="25638" cy="48323"/>
            </a:xfrm>
            <a:custGeom>
              <a:avLst/>
              <a:gdLst>
                <a:gd name="connsiteX0" fmla="*/ 41199 w 117258"/>
                <a:gd name="connsiteY0" fmla="*/ 3276 h 221004"/>
                <a:gd name="connsiteX1" fmla="*/ 0 w 117258"/>
                <a:gd name="connsiteY1" fmla="*/ 3276 h 221004"/>
                <a:gd name="connsiteX2" fmla="*/ 0 w 117258"/>
                <a:gd name="connsiteY2" fmla="*/ 221004 h 221004"/>
                <a:gd name="connsiteX3" fmla="*/ 42720 w 117258"/>
                <a:gd name="connsiteY3" fmla="*/ 221004 h 221004"/>
                <a:gd name="connsiteX4" fmla="*/ 42720 w 117258"/>
                <a:gd name="connsiteY4" fmla="*/ 88074 h 221004"/>
                <a:gd name="connsiteX5" fmla="*/ 49565 w 117258"/>
                <a:gd name="connsiteY5" fmla="*/ 62748 h 221004"/>
                <a:gd name="connsiteX6" fmla="*/ 68200 w 117258"/>
                <a:gd name="connsiteY6" fmla="*/ 45360 h 221004"/>
                <a:gd name="connsiteX7" fmla="*/ 95075 w 117258"/>
                <a:gd name="connsiteY7" fmla="*/ 39060 h 221004"/>
                <a:gd name="connsiteX8" fmla="*/ 108132 w 117258"/>
                <a:gd name="connsiteY8" fmla="*/ 39942 h 221004"/>
                <a:gd name="connsiteX9" fmla="*/ 117259 w 117258"/>
                <a:gd name="connsiteY9" fmla="*/ 41580 h 221004"/>
                <a:gd name="connsiteX10" fmla="*/ 117259 w 117258"/>
                <a:gd name="connsiteY10" fmla="*/ 1008 h 221004"/>
                <a:gd name="connsiteX11" fmla="*/ 108638 w 117258"/>
                <a:gd name="connsiteY11" fmla="*/ 252 h 221004"/>
                <a:gd name="connsiteX12" fmla="*/ 99131 w 117258"/>
                <a:gd name="connsiteY12" fmla="*/ 0 h 221004"/>
                <a:gd name="connsiteX13" fmla="*/ 64650 w 117258"/>
                <a:gd name="connsiteY13" fmla="*/ 10080 h 221004"/>
                <a:gd name="connsiteX14" fmla="*/ 43481 w 117258"/>
                <a:gd name="connsiteY14" fmla="*/ 37800 h 221004"/>
                <a:gd name="connsiteX15" fmla="*/ 41199 w 117258"/>
                <a:gd name="connsiteY15" fmla="*/ 37800 h 221004"/>
                <a:gd name="connsiteX16" fmla="*/ 41199 w 117258"/>
                <a:gd name="connsiteY16" fmla="*/ 3276 h 221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4">
                  <a:moveTo>
                    <a:pt x="41199" y="3276"/>
                  </a:move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5" y="62748"/>
                  </a:cubicBezTo>
                  <a:cubicBezTo>
                    <a:pt x="54129" y="55314"/>
                    <a:pt x="60340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1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8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0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3" name="Freihandform 29">
              <a:extLst>
                <a:ext uri="{FF2B5EF4-FFF2-40B4-BE49-F238E27FC236}">
                  <a16:creationId xmlns:a16="http://schemas.microsoft.com/office/drawing/2014/main" id="{87888852-2BFD-4EEE-8AB2-7E8FD59E1AB6}"/>
                </a:ext>
              </a:extLst>
            </p:cNvPr>
            <p:cNvSpPr/>
            <p:nvPr/>
          </p:nvSpPr>
          <p:spPr bwMode="invGray">
            <a:xfrm>
              <a:off x="1266856" y="376728"/>
              <a:ext cx="39857" cy="49314"/>
            </a:xfrm>
            <a:custGeom>
              <a:avLst/>
              <a:gdLst>
                <a:gd name="connsiteX0" fmla="*/ 152627 w 182289"/>
                <a:gd name="connsiteY0" fmla="*/ 14112 h 225539"/>
                <a:gd name="connsiteX1" fmla="*/ 124992 w 182289"/>
                <a:gd name="connsiteY1" fmla="*/ 3024 h 225539"/>
                <a:gd name="connsiteX2" fmla="*/ 97103 w 182289"/>
                <a:gd name="connsiteY2" fmla="*/ 0 h 225539"/>
                <a:gd name="connsiteX3" fmla="*/ 59326 w 182289"/>
                <a:gd name="connsiteY3" fmla="*/ 5544 h 225539"/>
                <a:gd name="connsiteX4" fmla="*/ 27635 w 182289"/>
                <a:gd name="connsiteY4" fmla="*/ 23436 h 225539"/>
                <a:gd name="connsiteX5" fmla="*/ 6719 w 182289"/>
                <a:gd name="connsiteY5" fmla="*/ 55566 h 225539"/>
                <a:gd name="connsiteX6" fmla="*/ 46777 w 182289"/>
                <a:gd name="connsiteY6" fmla="*/ 64638 h 225539"/>
                <a:gd name="connsiteX7" fmla="*/ 63890 w 182289"/>
                <a:gd name="connsiteY7" fmla="*/ 43722 h 225539"/>
                <a:gd name="connsiteX8" fmla="*/ 97737 w 182289"/>
                <a:gd name="connsiteY8" fmla="*/ 34272 h 225539"/>
                <a:gd name="connsiteX9" fmla="*/ 128921 w 182289"/>
                <a:gd name="connsiteY9" fmla="*/ 44478 h 225539"/>
                <a:gd name="connsiteX10" fmla="*/ 139443 w 182289"/>
                <a:gd name="connsiteY10" fmla="*/ 73332 h 225539"/>
                <a:gd name="connsiteX11" fmla="*/ 139443 w 182289"/>
                <a:gd name="connsiteY11" fmla="*/ 74340 h 225539"/>
                <a:gd name="connsiteX12" fmla="*/ 133865 w 182289"/>
                <a:gd name="connsiteY12" fmla="*/ 85428 h 225539"/>
                <a:gd name="connsiteX13" fmla="*/ 115991 w 182289"/>
                <a:gd name="connsiteY13" fmla="*/ 90342 h 225539"/>
                <a:gd name="connsiteX14" fmla="*/ 84046 w 182289"/>
                <a:gd name="connsiteY14" fmla="*/ 94122 h 225539"/>
                <a:gd name="connsiteX15" fmla="*/ 53495 w 182289"/>
                <a:gd name="connsiteY15" fmla="*/ 99540 h 225539"/>
                <a:gd name="connsiteX16" fmla="*/ 26368 w 182289"/>
                <a:gd name="connsiteY16" fmla="*/ 109998 h 225539"/>
                <a:gd name="connsiteX17" fmla="*/ 7099 w 182289"/>
                <a:gd name="connsiteY17" fmla="*/ 128898 h 225539"/>
                <a:gd name="connsiteX18" fmla="*/ 0 w 182289"/>
                <a:gd name="connsiteY18" fmla="*/ 159264 h 225539"/>
                <a:gd name="connsiteX19" fmla="*/ 9761 w 182289"/>
                <a:gd name="connsiteY19" fmla="*/ 195426 h 225539"/>
                <a:gd name="connsiteX20" fmla="*/ 36382 w 182289"/>
                <a:gd name="connsiteY20" fmla="*/ 217854 h 225539"/>
                <a:gd name="connsiteX21" fmla="*/ 74031 w 182289"/>
                <a:gd name="connsiteY21" fmla="*/ 225540 h 225539"/>
                <a:gd name="connsiteX22" fmla="*/ 105089 w 182289"/>
                <a:gd name="connsiteY22" fmla="*/ 220248 h 225539"/>
                <a:gd name="connsiteX23" fmla="*/ 126386 w 182289"/>
                <a:gd name="connsiteY23" fmla="*/ 207018 h 225539"/>
                <a:gd name="connsiteX24" fmla="*/ 138809 w 182289"/>
                <a:gd name="connsiteY24" fmla="*/ 190890 h 225539"/>
                <a:gd name="connsiteX25" fmla="*/ 140584 w 182289"/>
                <a:gd name="connsiteY25" fmla="*/ 190890 h 225539"/>
                <a:gd name="connsiteX26" fmla="*/ 140584 w 182289"/>
                <a:gd name="connsiteY26" fmla="*/ 220626 h 225539"/>
                <a:gd name="connsiteX27" fmla="*/ 182290 w 182289"/>
                <a:gd name="connsiteY27" fmla="*/ 220626 h 225539"/>
                <a:gd name="connsiteX28" fmla="*/ 182290 w 182289"/>
                <a:gd name="connsiteY28" fmla="*/ 75978 h 225539"/>
                <a:gd name="connsiteX29" fmla="*/ 173923 w 182289"/>
                <a:gd name="connsiteY29" fmla="*/ 37170 h 225539"/>
                <a:gd name="connsiteX30" fmla="*/ 152627 w 182289"/>
                <a:gd name="connsiteY30" fmla="*/ 14112 h 225539"/>
                <a:gd name="connsiteX31" fmla="*/ 139443 w 182289"/>
                <a:gd name="connsiteY31" fmla="*/ 142002 h 225539"/>
                <a:gd name="connsiteX32" fmla="*/ 132851 w 182289"/>
                <a:gd name="connsiteY32" fmla="*/ 166194 h 225539"/>
                <a:gd name="connsiteX33" fmla="*/ 113582 w 182289"/>
                <a:gd name="connsiteY33" fmla="*/ 184464 h 225539"/>
                <a:gd name="connsiteX34" fmla="*/ 83285 w 182289"/>
                <a:gd name="connsiteY34" fmla="*/ 191394 h 225539"/>
                <a:gd name="connsiteX35" fmla="*/ 53495 w 182289"/>
                <a:gd name="connsiteY35" fmla="*/ 183330 h 225539"/>
                <a:gd name="connsiteX36" fmla="*/ 41833 w 182289"/>
                <a:gd name="connsiteY36" fmla="*/ 159642 h 225539"/>
                <a:gd name="connsiteX37" fmla="*/ 47918 w 182289"/>
                <a:gd name="connsiteY37" fmla="*/ 141372 h 225539"/>
                <a:gd name="connsiteX38" fmla="*/ 64144 w 182289"/>
                <a:gd name="connsiteY38" fmla="*/ 130788 h 225539"/>
                <a:gd name="connsiteX39" fmla="*/ 86708 w 182289"/>
                <a:gd name="connsiteY39" fmla="*/ 125496 h 225539"/>
                <a:gd name="connsiteX40" fmla="*/ 99892 w 182289"/>
                <a:gd name="connsiteY40" fmla="*/ 123732 h 225539"/>
                <a:gd name="connsiteX41" fmla="*/ 115991 w 182289"/>
                <a:gd name="connsiteY41" fmla="*/ 121338 h 225539"/>
                <a:gd name="connsiteX42" fmla="*/ 130823 w 182289"/>
                <a:gd name="connsiteY42" fmla="*/ 118062 h 225539"/>
                <a:gd name="connsiteX43" fmla="*/ 139570 w 182289"/>
                <a:gd name="connsiteY43" fmla="*/ 113904 h 225539"/>
                <a:gd name="connsiteX44" fmla="*/ 139570 w 182289"/>
                <a:gd name="connsiteY44" fmla="*/ 142002 h 225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82289" h="225539">
                  <a:moveTo>
                    <a:pt x="152627" y="14112"/>
                  </a:moveTo>
                  <a:cubicBezTo>
                    <a:pt x="144007" y="8694"/>
                    <a:pt x="134753" y="5040"/>
                    <a:pt x="124992" y="3024"/>
                  </a:cubicBezTo>
                  <a:cubicBezTo>
                    <a:pt x="115104" y="1008"/>
                    <a:pt x="105850" y="0"/>
                    <a:pt x="97103" y="0"/>
                  </a:cubicBezTo>
                  <a:cubicBezTo>
                    <a:pt x="83919" y="0"/>
                    <a:pt x="71243" y="1890"/>
                    <a:pt x="59326" y="5544"/>
                  </a:cubicBezTo>
                  <a:cubicBezTo>
                    <a:pt x="47411" y="9324"/>
                    <a:pt x="36762" y="15246"/>
                    <a:pt x="27635" y="23436"/>
                  </a:cubicBezTo>
                  <a:cubicBezTo>
                    <a:pt x="18508" y="31626"/>
                    <a:pt x="11536" y="42336"/>
                    <a:pt x="6719" y="55566"/>
                  </a:cubicBezTo>
                  <a:lnTo>
                    <a:pt x="46777" y="64638"/>
                  </a:lnTo>
                  <a:cubicBezTo>
                    <a:pt x="49946" y="56952"/>
                    <a:pt x="55651" y="50022"/>
                    <a:pt x="63890" y="43722"/>
                  </a:cubicBezTo>
                  <a:cubicBezTo>
                    <a:pt x="72130" y="37422"/>
                    <a:pt x="83412" y="34272"/>
                    <a:pt x="97737" y="34272"/>
                  </a:cubicBezTo>
                  <a:cubicBezTo>
                    <a:pt x="111554" y="34272"/>
                    <a:pt x="121949" y="37674"/>
                    <a:pt x="128921" y="44478"/>
                  </a:cubicBezTo>
                  <a:cubicBezTo>
                    <a:pt x="135893" y="51282"/>
                    <a:pt x="139443" y="60858"/>
                    <a:pt x="139443" y="73332"/>
                  </a:cubicBezTo>
                  <a:lnTo>
                    <a:pt x="139443" y="74340"/>
                  </a:lnTo>
                  <a:cubicBezTo>
                    <a:pt x="139443" y="79380"/>
                    <a:pt x="137668" y="83160"/>
                    <a:pt x="133865" y="85428"/>
                  </a:cubicBezTo>
                  <a:cubicBezTo>
                    <a:pt x="130189" y="87696"/>
                    <a:pt x="124231" y="89334"/>
                    <a:pt x="115991" y="90342"/>
                  </a:cubicBezTo>
                  <a:cubicBezTo>
                    <a:pt x="107751" y="91350"/>
                    <a:pt x="97103" y="92610"/>
                    <a:pt x="84046" y="94122"/>
                  </a:cubicBezTo>
                  <a:cubicBezTo>
                    <a:pt x="73651" y="95382"/>
                    <a:pt x="63510" y="97146"/>
                    <a:pt x="53495" y="99540"/>
                  </a:cubicBezTo>
                  <a:cubicBezTo>
                    <a:pt x="43481" y="101934"/>
                    <a:pt x="34480" y="105462"/>
                    <a:pt x="26368" y="109998"/>
                  </a:cubicBezTo>
                  <a:cubicBezTo>
                    <a:pt x="18254" y="114660"/>
                    <a:pt x="11916" y="120960"/>
                    <a:pt x="7099" y="128898"/>
                  </a:cubicBezTo>
                  <a:cubicBezTo>
                    <a:pt x="2409" y="136836"/>
                    <a:pt x="0" y="146916"/>
                    <a:pt x="0" y="159264"/>
                  </a:cubicBezTo>
                  <a:cubicBezTo>
                    <a:pt x="0" y="173502"/>
                    <a:pt x="3296" y="185598"/>
                    <a:pt x="9761" y="195426"/>
                  </a:cubicBezTo>
                  <a:cubicBezTo>
                    <a:pt x="16226" y="205254"/>
                    <a:pt x="25100" y="212688"/>
                    <a:pt x="36382" y="217854"/>
                  </a:cubicBezTo>
                  <a:cubicBezTo>
                    <a:pt x="47664" y="223020"/>
                    <a:pt x="60087" y="225540"/>
                    <a:pt x="74031" y="225540"/>
                  </a:cubicBezTo>
                  <a:cubicBezTo>
                    <a:pt x="86074" y="225540"/>
                    <a:pt x="96469" y="223776"/>
                    <a:pt x="105089" y="220248"/>
                  </a:cubicBezTo>
                  <a:cubicBezTo>
                    <a:pt x="113709" y="216720"/>
                    <a:pt x="120808" y="212310"/>
                    <a:pt x="126386" y="207018"/>
                  </a:cubicBezTo>
                  <a:cubicBezTo>
                    <a:pt x="131837" y="201726"/>
                    <a:pt x="136020" y="196308"/>
                    <a:pt x="138809" y="190890"/>
                  </a:cubicBezTo>
                  <a:lnTo>
                    <a:pt x="140584" y="190890"/>
                  </a:lnTo>
                  <a:lnTo>
                    <a:pt x="140584" y="220626"/>
                  </a:lnTo>
                  <a:lnTo>
                    <a:pt x="182290" y="220626"/>
                  </a:lnTo>
                  <a:lnTo>
                    <a:pt x="182290" y="75978"/>
                  </a:lnTo>
                  <a:cubicBezTo>
                    <a:pt x="182290" y="60102"/>
                    <a:pt x="179501" y="47124"/>
                    <a:pt x="173923" y="37170"/>
                  </a:cubicBezTo>
                  <a:cubicBezTo>
                    <a:pt x="168219" y="27216"/>
                    <a:pt x="161247" y="19530"/>
                    <a:pt x="152627" y="14112"/>
                  </a:cubicBezTo>
                  <a:close/>
                  <a:moveTo>
                    <a:pt x="139443" y="142002"/>
                  </a:moveTo>
                  <a:cubicBezTo>
                    <a:pt x="139443" y="150570"/>
                    <a:pt x="137161" y="158634"/>
                    <a:pt x="132851" y="166194"/>
                  </a:cubicBezTo>
                  <a:cubicBezTo>
                    <a:pt x="128414" y="173754"/>
                    <a:pt x="122076" y="179802"/>
                    <a:pt x="113582" y="184464"/>
                  </a:cubicBezTo>
                  <a:cubicBezTo>
                    <a:pt x="105216" y="189126"/>
                    <a:pt x="95075" y="191394"/>
                    <a:pt x="83285" y="191394"/>
                  </a:cubicBezTo>
                  <a:cubicBezTo>
                    <a:pt x="71243" y="191394"/>
                    <a:pt x="61228" y="188748"/>
                    <a:pt x="53495" y="183330"/>
                  </a:cubicBezTo>
                  <a:cubicBezTo>
                    <a:pt x="45636" y="178038"/>
                    <a:pt x="41833" y="170100"/>
                    <a:pt x="41833" y="159642"/>
                  </a:cubicBezTo>
                  <a:cubicBezTo>
                    <a:pt x="41833" y="152082"/>
                    <a:pt x="43861" y="146034"/>
                    <a:pt x="47918" y="141372"/>
                  </a:cubicBezTo>
                  <a:cubicBezTo>
                    <a:pt x="51974" y="136836"/>
                    <a:pt x="57425" y="133308"/>
                    <a:pt x="64144" y="130788"/>
                  </a:cubicBezTo>
                  <a:cubicBezTo>
                    <a:pt x="70989" y="128394"/>
                    <a:pt x="78468" y="126630"/>
                    <a:pt x="86708" y="125496"/>
                  </a:cubicBezTo>
                  <a:cubicBezTo>
                    <a:pt x="90257" y="124992"/>
                    <a:pt x="94567" y="124488"/>
                    <a:pt x="99892" y="123732"/>
                  </a:cubicBezTo>
                  <a:cubicBezTo>
                    <a:pt x="105089" y="122976"/>
                    <a:pt x="110540" y="122220"/>
                    <a:pt x="115991" y="121338"/>
                  </a:cubicBezTo>
                  <a:cubicBezTo>
                    <a:pt x="121442" y="120456"/>
                    <a:pt x="126386" y="119322"/>
                    <a:pt x="130823" y="118062"/>
                  </a:cubicBezTo>
                  <a:cubicBezTo>
                    <a:pt x="135133" y="116802"/>
                    <a:pt x="138049" y="115416"/>
                    <a:pt x="139570" y="113904"/>
                  </a:cubicBezTo>
                  <a:lnTo>
                    <a:pt x="139570" y="14200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4" name="Freihandform 30">
              <a:extLst>
                <a:ext uri="{FF2B5EF4-FFF2-40B4-BE49-F238E27FC236}">
                  <a16:creationId xmlns:a16="http://schemas.microsoft.com/office/drawing/2014/main" id="{4CD6FB8B-DE54-4690-B9D4-F6C26DA2CE2C}"/>
                </a:ext>
              </a:extLst>
            </p:cNvPr>
            <p:cNvSpPr/>
            <p:nvPr/>
          </p:nvSpPr>
          <p:spPr bwMode="invGray">
            <a:xfrm>
              <a:off x="1341693" y="361466"/>
              <a:ext cx="43766" cy="64412"/>
            </a:xfrm>
            <a:custGeom>
              <a:avLst/>
              <a:gdLst>
                <a:gd name="connsiteX0" fmla="*/ 155415 w 200163"/>
                <a:gd name="connsiteY0" fmla="*/ 83034 h 294588"/>
                <a:gd name="connsiteX1" fmla="*/ 108132 w 200163"/>
                <a:gd name="connsiteY1" fmla="*/ 69678 h 294588"/>
                <a:gd name="connsiteX2" fmla="*/ 75299 w 200163"/>
                <a:gd name="connsiteY2" fmla="*/ 76356 h 294588"/>
                <a:gd name="connsiteX3" fmla="*/ 55904 w 200163"/>
                <a:gd name="connsiteY3" fmla="*/ 91980 h 294588"/>
                <a:gd name="connsiteX4" fmla="*/ 45129 w 200163"/>
                <a:gd name="connsiteY4" fmla="*/ 107730 h 294588"/>
                <a:gd name="connsiteX5" fmla="*/ 42594 w 200163"/>
                <a:gd name="connsiteY5" fmla="*/ 107730 h 294588"/>
                <a:gd name="connsiteX6" fmla="*/ 42594 w 200163"/>
                <a:gd name="connsiteY6" fmla="*/ 0 h 294588"/>
                <a:gd name="connsiteX7" fmla="*/ 0 w 200163"/>
                <a:gd name="connsiteY7" fmla="*/ 0 h 294588"/>
                <a:gd name="connsiteX8" fmla="*/ 0 w 200163"/>
                <a:gd name="connsiteY8" fmla="*/ 290304 h 294588"/>
                <a:gd name="connsiteX9" fmla="*/ 41579 w 200163"/>
                <a:gd name="connsiteY9" fmla="*/ 290304 h 294588"/>
                <a:gd name="connsiteX10" fmla="*/ 41579 w 200163"/>
                <a:gd name="connsiteY10" fmla="*/ 256410 h 294588"/>
                <a:gd name="connsiteX11" fmla="*/ 45129 w 200163"/>
                <a:gd name="connsiteY11" fmla="*/ 256410 h 294588"/>
                <a:gd name="connsiteX12" fmla="*/ 56157 w 200163"/>
                <a:gd name="connsiteY12" fmla="*/ 272286 h 294588"/>
                <a:gd name="connsiteX13" fmla="*/ 75933 w 200163"/>
                <a:gd name="connsiteY13" fmla="*/ 287910 h 294588"/>
                <a:gd name="connsiteX14" fmla="*/ 108512 w 200163"/>
                <a:gd name="connsiteY14" fmla="*/ 294588 h 294588"/>
                <a:gd name="connsiteX15" fmla="*/ 155796 w 200163"/>
                <a:gd name="connsiteY15" fmla="*/ 281106 h 294588"/>
                <a:gd name="connsiteX16" fmla="*/ 188375 w 200163"/>
                <a:gd name="connsiteY16" fmla="*/ 242424 h 294588"/>
                <a:gd name="connsiteX17" fmla="*/ 200164 w 200163"/>
                <a:gd name="connsiteY17" fmla="*/ 181944 h 294588"/>
                <a:gd name="connsiteX18" fmla="*/ 188248 w 200163"/>
                <a:gd name="connsiteY18" fmla="*/ 121590 h 294588"/>
                <a:gd name="connsiteX19" fmla="*/ 155415 w 200163"/>
                <a:gd name="connsiteY19" fmla="*/ 83034 h 294588"/>
                <a:gd name="connsiteX20" fmla="*/ 150345 w 200163"/>
                <a:gd name="connsiteY20" fmla="*/ 220752 h 294588"/>
                <a:gd name="connsiteX21" fmla="*/ 130823 w 200163"/>
                <a:gd name="connsiteY21" fmla="*/ 248346 h 294588"/>
                <a:gd name="connsiteX22" fmla="*/ 98878 w 200163"/>
                <a:gd name="connsiteY22" fmla="*/ 258426 h 294588"/>
                <a:gd name="connsiteX23" fmla="*/ 67820 w 200163"/>
                <a:gd name="connsiteY23" fmla="*/ 248724 h 294588"/>
                <a:gd name="connsiteX24" fmla="*/ 48425 w 200163"/>
                <a:gd name="connsiteY24" fmla="*/ 221760 h 294588"/>
                <a:gd name="connsiteX25" fmla="*/ 41706 w 200163"/>
                <a:gd name="connsiteY25" fmla="*/ 181440 h 294588"/>
                <a:gd name="connsiteX26" fmla="*/ 48298 w 200163"/>
                <a:gd name="connsiteY26" fmla="*/ 141750 h 294588"/>
                <a:gd name="connsiteX27" fmla="*/ 67567 w 200163"/>
                <a:gd name="connsiteY27" fmla="*/ 115290 h 294588"/>
                <a:gd name="connsiteX28" fmla="*/ 98878 w 200163"/>
                <a:gd name="connsiteY28" fmla="*/ 105840 h 294588"/>
                <a:gd name="connsiteX29" fmla="*/ 131076 w 200163"/>
                <a:gd name="connsiteY29" fmla="*/ 115794 h 294588"/>
                <a:gd name="connsiteX30" fmla="*/ 150471 w 200163"/>
                <a:gd name="connsiteY30" fmla="*/ 142884 h 294588"/>
                <a:gd name="connsiteX31" fmla="*/ 156937 w 200163"/>
                <a:gd name="connsiteY31" fmla="*/ 181566 h 294588"/>
                <a:gd name="connsiteX32" fmla="*/ 150345 w 200163"/>
                <a:gd name="connsiteY32" fmla="*/ 220752 h 29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163" h="294588">
                  <a:moveTo>
                    <a:pt x="155415" y="83034"/>
                  </a:moveTo>
                  <a:cubicBezTo>
                    <a:pt x="141598" y="74214"/>
                    <a:pt x="125752" y="69678"/>
                    <a:pt x="108132" y="69678"/>
                  </a:cubicBezTo>
                  <a:cubicBezTo>
                    <a:pt x="94567" y="69678"/>
                    <a:pt x="83539" y="71946"/>
                    <a:pt x="75299" y="76356"/>
                  </a:cubicBezTo>
                  <a:cubicBezTo>
                    <a:pt x="66933" y="80892"/>
                    <a:pt x="60468" y="86058"/>
                    <a:pt x="55904" y="91980"/>
                  </a:cubicBezTo>
                  <a:cubicBezTo>
                    <a:pt x="51214" y="97902"/>
                    <a:pt x="47664" y="103194"/>
                    <a:pt x="45129" y="107730"/>
                  </a:cubicBezTo>
                  <a:lnTo>
                    <a:pt x="42594" y="107730"/>
                  </a:lnTo>
                  <a:lnTo>
                    <a:pt x="42594" y="0"/>
                  </a:lnTo>
                  <a:lnTo>
                    <a:pt x="0" y="0"/>
                  </a:lnTo>
                  <a:lnTo>
                    <a:pt x="0" y="290304"/>
                  </a:lnTo>
                  <a:lnTo>
                    <a:pt x="41579" y="290304"/>
                  </a:lnTo>
                  <a:lnTo>
                    <a:pt x="41579" y="256410"/>
                  </a:lnTo>
                  <a:lnTo>
                    <a:pt x="45129" y="256410"/>
                  </a:lnTo>
                  <a:cubicBezTo>
                    <a:pt x="47664" y="261072"/>
                    <a:pt x="51341" y="266364"/>
                    <a:pt x="56157" y="272286"/>
                  </a:cubicBezTo>
                  <a:cubicBezTo>
                    <a:pt x="60848" y="278208"/>
                    <a:pt x="67567" y="283500"/>
                    <a:pt x="75933" y="287910"/>
                  </a:cubicBezTo>
                  <a:cubicBezTo>
                    <a:pt x="84299" y="292320"/>
                    <a:pt x="95202" y="294588"/>
                    <a:pt x="108512" y="294588"/>
                  </a:cubicBezTo>
                  <a:cubicBezTo>
                    <a:pt x="126133" y="294588"/>
                    <a:pt x="141978" y="290052"/>
                    <a:pt x="155796" y="281106"/>
                  </a:cubicBezTo>
                  <a:cubicBezTo>
                    <a:pt x="169613" y="272034"/>
                    <a:pt x="180388" y="259182"/>
                    <a:pt x="188375" y="242424"/>
                  </a:cubicBezTo>
                  <a:cubicBezTo>
                    <a:pt x="196234" y="225666"/>
                    <a:pt x="200164" y="205506"/>
                    <a:pt x="200164" y="181944"/>
                  </a:cubicBezTo>
                  <a:cubicBezTo>
                    <a:pt x="200164" y="158382"/>
                    <a:pt x="196234" y="138222"/>
                    <a:pt x="188248" y="121590"/>
                  </a:cubicBezTo>
                  <a:cubicBezTo>
                    <a:pt x="180262" y="104832"/>
                    <a:pt x="169360" y="91980"/>
                    <a:pt x="155415" y="83034"/>
                  </a:cubicBezTo>
                  <a:close/>
                  <a:moveTo>
                    <a:pt x="150345" y="220752"/>
                  </a:moveTo>
                  <a:cubicBezTo>
                    <a:pt x="145908" y="232344"/>
                    <a:pt x="139443" y="241542"/>
                    <a:pt x="130823" y="248346"/>
                  </a:cubicBezTo>
                  <a:cubicBezTo>
                    <a:pt x="122329" y="255150"/>
                    <a:pt x="111554" y="258426"/>
                    <a:pt x="98878" y="258426"/>
                  </a:cubicBezTo>
                  <a:cubicBezTo>
                    <a:pt x="86582" y="258426"/>
                    <a:pt x="76313" y="255150"/>
                    <a:pt x="67820" y="248724"/>
                  </a:cubicBezTo>
                  <a:cubicBezTo>
                    <a:pt x="59326" y="242298"/>
                    <a:pt x="52862" y="233226"/>
                    <a:pt x="48425" y="221760"/>
                  </a:cubicBezTo>
                  <a:cubicBezTo>
                    <a:pt x="43988" y="210294"/>
                    <a:pt x="41706" y="196812"/>
                    <a:pt x="41706" y="181440"/>
                  </a:cubicBezTo>
                  <a:cubicBezTo>
                    <a:pt x="41706" y="166320"/>
                    <a:pt x="43861" y="153090"/>
                    <a:pt x="48298" y="141750"/>
                  </a:cubicBezTo>
                  <a:cubicBezTo>
                    <a:pt x="52608" y="130410"/>
                    <a:pt x="59073" y="121590"/>
                    <a:pt x="67567" y="115290"/>
                  </a:cubicBezTo>
                  <a:cubicBezTo>
                    <a:pt x="76060" y="108990"/>
                    <a:pt x="86455" y="105840"/>
                    <a:pt x="98878" y="105840"/>
                  </a:cubicBezTo>
                  <a:cubicBezTo>
                    <a:pt x="111681" y="105840"/>
                    <a:pt x="122456" y="109116"/>
                    <a:pt x="131076" y="115794"/>
                  </a:cubicBezTo>
                  <a:cubicBezTo>
                    <a:pt x="139697" y="122472"/>
                    <a:pt x="146161" y="131418"/>
                    <a:pt x="150471" y="142884"/>
                  </a:cubicBezTo>
                  <a:cubicBezTo>
                    <a:pt x="154781" y="154350"/>
                    <a:pt x="156937" y="167202"/>
                    <a:pt x="156937" y="181566"/>
                  </a:cubicBezTo>
                  <a:cubicBezTo>
                    <a:pt x="156937" y="196056"/>
                    <a:pt x="154781" y="209160"/>
                    <a:pt x="150345" y="2207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5" name="Freihandform 31">
              <a:extLst>
                <a:ext uri="{FF2B5EF4-FFF2-40B4-BE49-F238E27FC236}">
                  <a16:creationId xmlns:a16="http://schemas.microsoft.com/office/drawing/2014/main" id="{0776F73C-2EA7-438E-9F38-7669ABC7897E}"/>
                </a:ext>
              </a:extLst>
            </p:cNvPr>
            <p:cNvSpPr/>
            <p:nvPr/>
          </p:nvSpPr>
          <p:spPr bwMode="invGray">
            <a:xfrm>
              <a:off x="1393026" y="376728"/>
              <a:ext cx="43378" cy="49204"/>
            </a:xfrm>
            <a:custGeom>
              <a:avLst/>
              <a:gdLst>
                <a:gd name="connsiteX0" fmla="*/ 168472 w 198388"/>
                <a:gd name="connsiteY0" fmla="*/ 25200 h 225035"/>
                <a:gd name="connsiteX1" fmla="*/ 137288 w 198388"/>
                <a:gd name="connsiteY1" fmla="*/ 6048 h 225035"/>
                <a:gd name="connsiteX2" fmla="*/ 101286 w 198388"/>
                <a:gd name="connsiteY2" fmla="*/ 0 h 225035"/>
                <a:gd name="connsiteX3" fmla="*/ 48044 w 198388"/>
                <a:gd name="connsiteY3" fmla="*/ 14364 h 225035"/>
                <a:gd name="connsiteX4" fmla="*/ 12677 w 198388"/>
                <a:gd name="connsiteY4" fmla="*/ 54180 h 225035"/>
                <a:gd name="connsiteX5" fmla="*/ 0 w 198388"/>
                <a:gd name="connsiteY5" fmla="*/ 113148 h 225035"/>
                <a:gd name="connsiteX6" fmla="*/ 12677 w 198388"/>
                <a:gd name="connsiteY6" fmla="*/ 172242 h 225035"/>
                <a:gd name="connsiteX7" fmla="*/ 48551 w 198388"/>
                <a:gd name="connsiteY7" fmla="*/ 211176 h 225035"/>
                <a:gd name="connsiteX8" fmla="*/ 104328 w 198388"/>
                <a:gd name="connsiteY8" fmla="*/ 225036 h 225035"/>
                <a:gd name="connsiteX9" fmla="*/ 147048 w 198388"/>
                <a:gd name="connsiteY9" fmla="*/ 217728 h 225035"/>
                <a:gd name="connsiteX10" fmla="*/ 178233 w 198388"/>
                <a:gd name="connsiteY10" fmla="*/ 197190 h 225035"/>
                <a:gd name="connsiteX11" fmla="*/ 195600 w 198388"/>
                <a:gd name="connsiteY11" fmla="*/ 166194 h 225035"/>
                <a:gd name="connsiteX12" fmla="*/ 155289 w 198388"/>
                <a:gd name="connsiteY12" fmla="*/ 159012 h 225035"/>
                <a:gd name="connsiteX13" fmla="*/ 144133 w 198388"/>
                <a:gd name="connsiteY13" fmla="*/ 176148 h 225035"/>
                <a:gd name="connsiteX14" fmla="*/ 126893 w 198388"/>
                <a:gd name="connsiteY14" fmla="*/ 186606 h 225035"/>
                <a:gd name="connsiteX15" fmla="*/ 104835 w 198388"/>
                <a:gd name="connsiteY15" fmla="*/ 190134 h 225035"/>
                <a:gd name="connsiteX16" fmla="*/ 72130 w 198388"/>
                <a:gd name="connsiteY16" fmla="*/ 182070 h 225035"/>
                <a:gd name="connsiteX17" fmla="*/ 50453 w 198388"/>
                <a:gd name="connsiteY17" fmla="*/ 158760 h 225035"/>
                <a:gd name="connsiteX18" fmla="*/ 42974 w 198388"/>
                <a:gd name="connsiteY18" fmla="*/ 124614 h 225035"/>
                <a:gd name="connsiteX19" fmla="*/ 198389 w 198388"/>
                <a:gd name="connsiteY19" fmla="*/ 124614 h 225035"/>
                <a:gd name="connsiteX20" fmla="*/ 198389 w 198388"/>
                <a:gd name="connsiteY20" fmla="*/ 109620 h 225035"/>
                <a:gd name="connsiteX21" fmla="*/ 190403 w 198388"/>
                <a:gd name="connsiteY21" fmla="*/ 59220 h 225035"/>
                <a:gd name="connsiteX22" fmla="*/ 168472 w 198388"/>
                <a:gd name="connsiteY22" fmla="*/ 25200 h 225035"/>
                <a:gd name="connsiteX23" fmla="*/ 42974 w 198388"/>
                <a:gd name="connsiteY23" fmla="*/ 92736 h 225035"/>
                <a:gd name="connsiteX24" fmla="*/ 49692 w 198388"/>
                <a:gd name="connsiteY24" fmla="*/ 66402 h 225035"/>
                <a:gd name="connsiteX25" fmla="*/ 70228 w 198388"/>
                <a:gd name="connsiteY25" fmla="*/ 43722 h 225035"/>
                <a:gd name="connsiteX26" fmla="*/ 101539 w 198388"/>
                <a:gd name="connsiteY26" fmla="*/ 35028 h 225035"/>
                <a:gd name="connsiteX27" fmla="*/ 130442 w 198388"/>
                <a:gd name="connsiteY27" fmla="*/ 42588 h 225035"/>
                <a:gd name="connsiteX28" fmla="*/ 149584 w 198388"/>
                <a:gd name="connsiteY28" fmla="*/ 63126 h 225035"/>
                <a:gd name="connsiteX29" fmla="*/ 156429 w 198388"/>
                <a:gd name="connsiteY29" fmla="*/ 92862 h 225035"/>
                <a:gd name="connsiteX30" fmla="*/ 42974 w 198388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8" h="225035">
                  <a:moveTo>
                    <a:pt x="168472" y="25200"/>
                  </a:move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1043" y="189000"/>
                    <a:pt x="33086" y="201978"/>
                    <a:pt x="48551" y="211176"/>
                  </a:cubicBezTo>
                  <a:cubicBezTo>
                    <a:pt x="64144" y="220374"/>
                    <a:pt x="82651" y="225036"/>
                    <a:pt x="104328" y="225036"/>
                  </a:cubicBezTo>
                  <a:cubicBezTo>
                    <a:pt x="120301" y="225036"/>
                    <a:pt x="134499" y="222642"/>
                    <a:pt x="147048" y="217728"/>
                  </a:cubicBezTo>
                  <a:cubicBezTo>
                    <a:pt x="159599" y="212814"/>
                    <a:pt x="169993" y="206010"/>
                    <a:pt x="178233" y="197190"/>
                  </a:cubicBezTo>
                  <a:cubicBezTo>
                    <a:pt x="186600" y="188370"/>
                    <a:pt x="192304" y="178038"/>
                    <a:pt x="195600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5" y="190134"/>
                  </a:cubicBezTo>
                  <a:cubicBezTo>
                    <a:pt x="92412" y="190134"/>
                    <a:pt x="81511" y="187488"/>
                    <a:pt x="72130" y="182070"/>
                  </a:cubicBezTo>
                  <a:cubicBezTo>
                    <a:pt x="62876" y="176778"/>
                    <a:pt x="55523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2" y="66402"/>
                  </a:cubicBezTo>
                  <a:cubicBezTo>
                    <a:pt x="54509" y="57078"/>
                    <a:pt x="61355" y="49518"/>
                    <a:pt x="70228" y="43722"/>
                  </a:cubicBezTo>
                  <a:cubicBezTo>
                    <a:pt x="79102" y="37926"/>
                    <a:pt x="89497" y="35028"/>
                    <a:pt x="101539" y="35028"/>
                  </a:cubicBezTo>
                  <a:cubicBezTo>
                    <a:pt x="112568" y="35028"/>
                    <a:pt x="122202" y="37548"/>
                    <a:pt x="130442" y="42588"/>
                  </a:cubicBezTo>
                  <a:cubicBezTo>
                    <a:pt x="138682" y="47628"/>
                    <a:pt x="145020" y="54432"/>
                    <a:pt x="149584" y="63126"/>
                  </a:cubicBezTo>
                  <a:cubicBezTo>
                    <a:pt x="154147" y="71820"/>
                    <a:pt x="156429" y="81648"/>
                    <a:pt x="156429" y="92862"/>
                  </a:cubicBezTo>
                  <a:lnTo>
                    <a:pt x="42974" y="9286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6" name="Freihandform 32">
              <a:extLst>
                <a:ext uri="{FF2B5EF4-FFF2-40B4-BE49-F238E27FC236}">
                  <a16:creationId xmlns:a16="http://schemas.microsoft.com/office/drawing/2014/main" id="{96A47144-B517-4D9E-9D34-8B4529613420}"/>
                </a:ext>
              </a:extLst>
            </p:cNvPr>
            <p:cNvSpPr/>
            <p:nvPr/>
          </p:nvSpPr>
          <p:spPr bwMode="invGray">
            <a:xfrm>
              <a:off x="144225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3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3 w 123723"/>
                <a:gd name="connsiteY16" fmla="*/ 247590 h 272810"/>
                <a:gd name="connsiteX17" fmla="*/ 64651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8" y="234738"/>
                    <a:pt x="104456" y="234990"/>
                    <a:pt x="101033" y="234990"/>
                  </a:cubicBezTo>
                  <a:cubicBezTo>
                    <a:pt x="96342" y="234990"/>
                    <a:pt x="92032" y="234234"/>
                    <a:pt x="88103" y="232848"/>
                  </a:cubicBezTo>
                  <a:cubicBezTo>
                    <a:pt x="84173" y="231336"/>
                    <a:pt x="81004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3" y="247590"/>
                  </a:cubicBezTo>
                  <a:cubicBezTo>
                    <a:pt x="47031" y="256284"/>
                    <a:pt x="54890" y="262710"/>
                    <a:pt x="64651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9" y="272160"/>
                    <a:pt x="113202" y="271152"/>
                  </a:cubicBezTo>
                  <a:cubicBezTo>
                    <a:pt x="117766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7" y="233352"/>
                    <a:pt x="112568" y="233730"/>
                    <a:pt x="110033" y="234234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7" name="Freihandform 33">
              <a:extLst>
                <a:ext uri="{FF2B5EF4-FFF2-40B4-BE49-F238E27FC236}">
                  <a16:creationId xmlns:a16="http://schemas.microsoft.com/office/drawing/2014/main" id="{6675D025-AB85-467D-AF5E-E67FCC064833}"/>
                </a:ext>
              </a:extLst>
            </p:cNvPr>
            <p:cNvSpPr/>
            <p:nvPr/>
          </p:nvSpPr>
          <p:spPr bwMode="invGray">
            <a:xfrm>
              <a:off x="147418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2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2 w 123723"/>
                <a:gd name="connsiteY16" fmla="*/ 247590 h 272810"/>
                <a:gd name="connsiteX17" fmla="*/ 64650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7" y="234738"/>
                    <a:pt x="104455" y="234990"/>
                    <a:pt x="101033" y="234990"/>
                  </a:cubicBezTo>
                  <a:cubicBezTo>
                    <a:pt x="96342" y="234990"/>
                    <a:pt x="92032" y="234234"/>
                    <a:pt x="88102" y="232848"/>
                  </a:cubicBezTo>
                  <a:cubicBezTo>
                    <a:pt x="84173" y="231336"/>
                    <a:pt x="81003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2" y="247590"/>
                  </a:cubicBezTo>
                  <a:cubicBezTo>
                    <a:pt x="47030" y="256284"/>
                    <a:pt x="54890" y="262710"/>
                    <a:pt x="64650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8" y="272160"/>
                    <a:pt x="113202" y="271152"/>
                  </a:cubicBezTo>
                  <a:cubicBezTo>
                    <a:pt x="117765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6" y="233352"/>
                    <a:pt x="112695" y="233730"/>
                    <a:pt x="110033" y="234234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8" name="Freihandform 34">
              <a:extLst>
                <a:ext uri="{FF2B5EF4-FFF2-40B4-BE49-F238E27FC236}">
                  <a16:creationId xmlns:a16="http://schemas.microsoft.com/office/drawing/2014/main" id="{AB95B676-DB6F-411F-BA1D-501D07F12161}"/>
                </a:ext>
              </a:extLst>
            </p:cNvPr>
            <p:cNvSpPr/>
            <p:nvPr/>
          </p:nvSpPr>
          <p:spPr bwMode="invGray">
            <a:xfrm>
              <a:off x="1507803" y="376728"/>
              <a:ext cx="43378" cy="49204"/>
            </a:xfrm>
            <a:custGeom>
              <a:avLst/>
              <a:gdLst>
                <a:gd name="connsiteX0" fmla="*/ 168472 w 198389"/>
                <a:gd name="connsiteY0" fmla="*/ 25200 h 225035"/>
                <a:gd name="connsiteX1" fmla="*/ 137288 w 198389"/>
                <a:gd name="connsiteY1" fmla="*/ 6048 h 225035"/>
                <a:gd name="connsiteX2" fmla="*/ 101286 w 198389"/>
                <a:gd name="connsiteY2" fmla="*/ 0 h 225035"/>
                <a:gd name="connsiteX3" fmla="*/ 48044 w 198389"/>
                <a:gd name="connsiteY3" fmla="*/ 14364 h 225035"/>
                <a:gd name="connsiteX4" fmla="*/ 12677 w 198389"/>
                <a:gd name="connsiteY4" fmla="*/ 54180 h 225035"/>
                <a:gd name="connsiteX5" fmla="*/ 0 w 198389"/>
                <a:gd name="connsiteY5" fmla="*/ 113148 h 225035"/>
                <a:gd name="connsiteX6" fmla="*/ 12677 w 198389"/>
                <a:gd name="connsiteY6" fmla="*/ 172242 h 225035"/>
                <a:gd name="connsiteX7" fmla="*/ 48552 w 198389"/>
                <a:gd name="connsiteY7" fmla="*/ 211176 h 225035"/>
                <a:gd name="connsiteX8" fmla="*/ 104329 w 198389"/>
                <a:gd name="connsiteY8" fmla="*/ 225036 h 225035"/>
                <a:gd name="connsiteX9" fmla="*/ 147049 w 198389"/>
                <a:gd name="connsiteY9" fmla="*/ 217728 h 225035"/>
                <a:gd name="connsiteX10" fmla="*/ 178234 w 198389"/>
                <a:gd name="connsiteY10" fmla="*/ 197190 h 225035"/>
                <a:gd name="connsiteX11" fmla="*/ 195601 w 198389"/>
                <a:gd name="connsiteY11" fmla="*/ 166194 h 225035"/>
                <a:gd name="connsiteX12" fmla="*/ 155289 w 198389"/>
                <a:gd name="connsiteY12" fmla="*/ 159012 h 225035"/>
                <a:gd name="connsiteX13" fmla="*/ 144133 w 198389"/>
                <a:gd name="connsiteY13" fmla="*/ 176148 h 225035"/>
                <a:gd name="connsiteX14" fmla="*/ 126893 w 198389"/>
                <a:gd name="connsiteY14" fmla="*/ 186606 h 225035"/>
                <a:gd name="connsiteX15" fmla="*/ 104836 w 198389"/>
                <a:gd name="connsiteY15" fmla="*/ 190134 h 225035"/>
                <a:gd name="connsiteX16" fmla="*/ 72130 w 198389"/>
                <a:gd name="connsiteY16" fmla="*/ 182070 h 225035"/>
                <a:gd name="connsiteX17" fmla="*/ 50453 w 198389"/>
                <a:gd name="connsiteY17" fmla="*/ 158760 h 225035"/>
                <a:gd name="connsiteX18" fmla="*/ 42974 w 198389"/>
                <a:gd name="connsiteY18" fmla="*/ 124614 h 225035"/>
                <a:gd name="connsiteX19" fmla="*/ 198389 w 198389"/>
                <a:gd name="connsiteY19" fmla="*/ 124614 h 225035"/>
                <a:gd name="connsiteX20" fmla="*/ 198389 w 198389"/>
                <a:gd name="connsiteY20" fmla="*/ 109620 h 225035"/>
                <a:gd name="connsiteX21" fmla="*/ 190403 w 198389"/>
                <a:gd name="connsiteY21" fmla="*/ 59220 h 225035"/>
                <a:gd name="connsiteX22" fmla="*/ 168472 w 198389"/>
                <a:gd name="connsiteY22" fmla="*/ 25200 h 225035"/>
                <a:gd name="connsiteX23" fmla="*/ 42974 w 198389"/>
                <a:gd name="connsiteY23" fmla="*/ 92736 h 225035"/>
                <a:gd name="connsiteX24" fmla="*/ 49693 w 198389"/>
                <a:gd name="connsiteY24" fmla="*/ 66402 h 225035"/>
                <a:gd name="connsiteX25" fmla="*/ 70229 w 198389"/>
                <a:gd name="connsiteY25" fmla="*/ 43722 h 225035"/>
                <a:gd name="connsiteX26" fmla="*/ 101540 w 198389"/>
                <a:gd name="connsiteY26" fmla="*/ 35028 h 225035"/>
                <a:gd name="connsiteX27" fmla="*/ 130443 w 198389"/>
                <a:gd name="connsiteY27" fmla="*/ 42588 h 225035"/>
                <a:gd name="connsiteX28" fmla="*/ 149584 w 198389"/>
                <a:gd name="connsiteY28" fmla="*/ 63126 h 225035"/>
                <a:gd name="connsiteX29" fmla="*/ 156430 w 198389"/>
                <a:gd name="connsiteY29" fmla="*/ 92862 h 225035"/>
                <a:gd name="connsiteX30" fmla="*/ 42974 w 198389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9" h="225035">
                  <a:moveTo>
                    <a:pt x="168472" y="25200"/>
                  </a:move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9000"/>
                    <a:pt x="33086" y="201978"/>
                    <a:pt x="48552" y="211176"/>
                  </a:cubicBezTo>
                  <a:cubicBezTo>
                    <a:pt x="64144" y="220374"/>
                    <a:pt x="82652" y="225036"/>
                    <a:pt x="104329" y="225036"/>
                  </a:cubicBezTo>
                  <a:cubicBezTo>
                    <a:pt x="120301" y="225036"/>
                    <a:pt x="134499" y="222642"/>
                    <a:pt x="147049" y="217728"/>
                  </a:cubicBezTo>
                  <a:cubicBezTo>
                    <a:pt x="159599" y="212814"/>
                    <a:pt x="169993" y="206010"/>
                    <a:pt x="178234" y="197190"/>
                  </a:cubicBezTo>
                  <a:cubicBezTo>
                    <a:pt x="186600" y="188370"/>
                    <a:pt x="192304" y="178038"/>
                    <a:pt x="195601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6" y="190134"/>
                  </a:cubicBezTo>
                  <a:cubicBezTo>
                    <a:pt x="92413" y="190134"/>
                    <a:pt x="81511" y="187488"/>
                    <a:pt x="72130" y="182070"/>
                  </a:cubicBezTo>
                  <a:cubicBezTo>
                    <a:pt x="62876" y="176778"/>
                    <a:pt x="55524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3" y="66402"/>
                  </a:cubicBezTo>
                  <a:cubicBezTo>
                    <a:pt x="54510" y="57078"/>
                    <a:pt x="61355" y="49518"/>
                    <a:pt x="70229" y="43722"/>
                  </a:cubicBezTo>
                  <a:cubicBezTo>
                    <a:pt x="79102" y="37926"/>
                    <a:pt x="89497" y="35028"/>
                    <a:pt x="101540" y="35028"/>
                  </a:cubicBezTo>
                  <a:cubicBezTo>
                    <a:pt x="112568" y="35028"/>
                    <a:pt x="122203" y="37548"/>
                    <a:pt x="130443" y="42588"/>
                  </a:cubicBezTo>
                  <a:cubicBezTo>
                    <a:pt x="138682" y="47628"/>
                    <a:pt x="145021" y="54432"/>
                    <a:pt x="149584" y="63126"/>
                  </a:cubicBezTo>
                  <a:cubicBezTo>
                    <a:pt x="154148" y="71820"/>
                    <a:pt x="156430" y="81648"/>
                    <a:pt x="156430" y="92862"/>
                  </a:cubicBezTo>
                  <a:lnTo>
                    <a:pt x="42974" y="9286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9" name="Freihandform 35">
              <a:extLst>
                <a:ext uri="{FF2B5EF4-FFF2-40B4-BE49-F238E27FC236}">
                  <a16:creationId xmlns:a16="http://schemas.microsoft.com/office/drawing/2014/main" id="{37D4CE77-3FC3-4C90-8C7C-52858E35942C}"/>
                </a:ext>
              </a:extLst>
            </p:cNvPr>
            <p:cNvSpPr/>
            <p:nvPr/>
          </p:nvSpPr>
          <p:spPr bwMode="invGray">
            <a:xfrm>
              <a:off x="1560854" y="376618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0" name="Freihandform 36">
              <a:extLst>
                <a:ext uri="{FF2B5EF4-FFF2-40B4-BE49-F238E27FC236}">
                  <a16:creationId xmlns:a16="http://schemas.microsoft.com/office/drawing/2014/main" id="{663953A3-132C-4F8A-A542-F246666170C7}"/>
                </a:ext>
              </a:extLst>
            </p:cNvPr>
            <p:cNvSpPr/>
            <p:nvPr/>
          </p:nvSpPr>
          <p:spPr bwMode="invGray">
            <a:xfrm>
              <a:off x="1125885" y="466265"/>
              <a:ext cx="67325" cy="47634"/>
            </a:xfrm>
            <a:custGeom>
              <a:avLst/>
              <a:gdLst>
                <a:gd name="connsiteX0" fmla="*/ 221207 w 307914"/>
                <a:gd name="connsiteY0" fmla="*/ 159264 h 217854"/>
                <a:gd name="connsiteX1" fmla="*/ 219052 w 307914"/>
                <a:gd name="connsiteY1" fmla="*/ 159264 h 217854"/>
                <a:gd name="connsiteX2" fmla="*/ 176205 w 307914"/>
                <a:gd name="connsiteY2" fmla="*/ 0 h 217854"/>
                <a:gd name="connsiteX3" fmla="*/ 132217 w 307914"/>
                <a:gd name="connsiteY3" fmla="*/ 0 h 217854"/>
                <a:gd name="connsiteX4" fmla="*/ 89117 w 307914"/>
                <a:gd name="connsiteY4" fmla="*/ 159894 h 217854"/>
                <a:gd name="connsiteX5" fmla="*/ 86961 w 307914"/>
                <a:gd name="connsiteY5" fmla="*/ 159894 h 217854"/>
                <a:gd name="connsiteX6" fmla="*/ 43988 w 307914"/>
                <a:gd name="connsiteY6" fmla="*/ 0 h 217854"/>
                <a:gd name="connsiteX7" fmla="*/ 0 w 307914"/>
                <a:gd name="connsiteY7" fmla="*/ 0 h 217854"/>
                <a:gd name="connsiteX8" fmla="*/ 64397 w 307914"/>
                <a:gd name="connsiteY8" fmla="*/ 217854 h 217854"/>
                <a:gd name="connsiteX9" fmla="*/ 107751 w 307914"/>
                <a:gd name="connsiteY9" fmla="*/ 217854 h 217854"/>
                <a:gd name="connsiteX10" fmla="*/ 152246 w 307914"/>
                <a:gd name="connsiteY10" fmla="*/ 60606 h 217854"/>
                <a:gd name="connsiteX11" fmla="*/ 155542 w 307914"/>
                <a:gd name="connsiteY11" fmla="*/ 60606 h 217854"/>
                <a:gd name="connsiteX12" fmla="*/ 200037 w 307914"/>
                <a:gd name="connsiteY12" fmla="*/ 217854 h 217854"/>
                <a:gd name="connsiteX13" fmla="*/ 243518 w 307914"/>
                <a:gd name="connsiteY13" fmla="*/ 217854 h 217854"/>
                <a:gd name="connsiteX14" fmla="*/ 307915 w 307914"/>
                <a:gd name="connsiteY14" fmla="*/ 0 h 217854"/>
                <a:gd name="connsiteX15" fmla="*/ 263800 w 307914"/>
                <a:gd name="connsiteY15" fmla="*/ 0 h 21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7914" h="217854">
                  <a:moveTo>
                    <a:pt x="221207" y="159264"/>
                  </a:moveTo>
                  <a:lnTo>
                    <a:pt x="219052" y="159264"/>
                  </a:lnTo>
                  <a:lnTo>
                    <a:pt x="176205" y="0"/>
                  </a:lnTo>
                  <a:lnTo>
                    <a:pt x="132217" y="0"/>
                  </a:lnTo>
                  <a:lnTo>
                    <a:pt x="89117" y="159894"/>
                  </a:lnTo>
                  <a:lnTo>
                    <a:pt x="86961" y="159894"/>
                  </a:lnTo>
                  <a:lnTo>
                    <a:pt x="43988" y="0"/>
                  </a:lnTo>
                  <a:lnTo>
                    <a:pt x="0" y="0"/>
                  </a:lnTo>
                  <a:lnTo>
                    <a:pt x="64397" y="217854"/>
                  </a:lnTo>
                  <a:lnTo>
                    <a:pt x="107751" y="217854"/>
                  </a:lnTo>
                  <a:lnTo>
                    <a:pt x="152246" y="60606"/>
                  </a:lnTo>
                  <a:lnTo>
                    <a:pt x="155542" y="60606"/>
                  </a:lnTo>
                  <a:lnTo>
                    <a:pt x="200037" y="217854"/>
                  </a:lnTo>
                  <a:lnTo>
                    <a:pt x="243518" y="217854"/>
                  </a:lnTo>
                  <a:lnTo>
                    <a:pt x="307915" y="0"/>
                  </a:lnTo>
                  <a:lnTo>
                    <a:pt x="263800" y="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1" name="Freihandform 37">
              <a:extLst>
                <a:ext uri="{FF2B5EF4-FFF2-40B4-BE49-F238E27FC236}">
                  <a16:creationId xmlns:a16="http://schemas.microsoft.com/office/drawing/2014/main" id="{A9437713-E829-48C1-8155-9D1DB29E79D5}"/>
                </a:ext>
              </a:extLst>
            </p:cNvPr>
            <p:cNvSpPr/>
            <p:nvPr/>
          </p:nvSpPr>
          <p:spPr bwMode="invGray">
            <a:xfrm>
              <a:off x="1198532" y="465659"/>
              <a:ext cx="44625" cy="49177"/>
            </a:xfrm>
            <a:custGeom>
              <a:avLst/>
              <a:gdLst>
                <a:gd name="connsiteX0" fmla="*/ 155796 w 204093"/>
                <a:gd name="connsiteY0" fmla="*/ 13986 h 224910"/>
                <a:gd name="connsiteX1" fmla="*/ 102047 w 204093"/>
                <a:gd name="connsiteY1" fmla="*/ 0 h 224910"/>
                <a:gd name="connsiteX2" fmla="*/ 48298 w 204093"/>
                <a:gd name="connsiteY2" fmla="*/ 13986 h 224910"/>
                <a:gd name="connsiteX3" fmla="*/ 12677 w 204093"/>
                <a:gd name="connsiteY3" fmla="*/ 53424 h 224910"/>
                <a:gd name="connsiteX4" fmla="*/ 0 w 204093"/>
                <a:gd name="connsiteY4" fmla="*/ 112644 h 224910"/>
                <a:gd name="connsiteX5" fmla="*/ 12677 w 204093"/>
                <a:gd name="connsiteY5" fmla="*/ 171612 h 224910"/>
                <a:gd name="connsiteX6" fmla="*/ 48298 w 204093"/>
                <a:gd name="connsiteY6" fmla="*/ 210924 h 224910"/>
                <a:gd name="connsiteX7" fmla="*/ 102047 w 204093"/>
                <a:gd name="connsiteY7" fmla="*/ 224910 h 224910"/>
                <a:gd name="connsiteX8" fmla="*/ 155796 w 204093"/>
                <a:gd name="connsiteY8" fmla="*/ 210924 h 224910"/>
                <a:gd name="connsiteX9" fmla="*/ 191417 w 204093"/>
                <a:gd name="connsiteY9" fmla="*/ 171612 h 224910"/>
                <a:gd name="connsiteX10" fmla="*/ 204094 w 204093"/>
                <a:gd name="connsiteY10" fmla="*/ 112644 h 224910"/>
                <a:gd name="connsiteX11" fmla="*/ 191417 w 204093"/>
                <a:gd name="connsiteY11" fmla="*/ 53424 h 224910"/>
                <a:gd name="connsiteX12" fmla="*/ 155796 w 204093"/>
                <a:gd name="connsiteY12" fmla="*/ 13986 h 224910"/>
                <a:gd name="connsiteX13" fmla="*/ 154655 w 204093"/>
                <a:gd name="connsiteY13" fmla="*/ 150948 h 224910"/>
                <a:gd name="connsiteX14" fmla="*/ 135133 w 204093"/>
                <a:gd name="connsiteY14" fmla="*/ 178920 h 224910"/>
                <a:gd name="connsiteX15" fmla="*/ 102047 w 204093"/>
                <a:gd name="connsiteY15" fmla="*/ 189378 h 224910"/>
                <a:gd name="connsiteX16" fmla="*/ 68707 w 204093"/>
                <a:gd name="connsiteY16" fmla="*/ 178920 h 224910"/>
                <a:gd name="connsiteX17" fmla="*/ 49185 w 204093"/>
                <a:gd name="connsiteY17" fmla="*/ 150948 h 224910"/>
                <a:gd name="connsiteX18" fmla="*/ 42847 w 204093"/>
                <a:gd name="connsiteY18" fmla="*/ 112518 h 224910"/>
                <a:gd name="connsiteX19" fmla="*/ 49185 w 204093"/>
                <a:gd name="connsiteY19" fmla="*/ 74214 h 224910"/>
                <a:gd name="connsiteX20" fmla="*/ 68707 w 204093"/>
                <a:gd name="connsiteY20" fmla="*/ 46116 h 224910"/>
                <a:gd name="connsiteX21" fmla="*/ 102047 w 204093"/>
                <a:gd name="connsiteY21" fmla="*/ 35532 h 224910"/>
                <a:gd name="connsiteX22" fmla="*/ 135133 w 204093"/>
                <a:gd name="connsiteY22" fmla="*/ 46116 h 224910"/>
                <a:gd name="connsiteX23" fmla="*/ 154655 w 204093"/>
                <a:gd name="connsiteY23" fmla="*/ 74214 h 224910"/>
                <a:gd name="connsiteX24" fmla="*/ 160993 w 204093"/>
                <a:gd name="connsiteY24" fmla="*/ 112518 h 224910"/>
                <a:gd name="connsiteX25" fmla="*/ 154655 w 204093"/>
                <a:gd name="connsiteY25" fmla="*/ 150948 h 224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10">
                  <a:moveTo>
                    <a:pt x="155796" y="13986"/>
                  </a:move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6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3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6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0" y="154854"/>
                    <a:pt x="204094" y="135072"/>
                    <a:pt x="204094" y="112644"/>
                  </a:cubicBezTo>
                  <a:cubicBezTo>
                    <a:pt x="204094" y="90090"/>
                    <a:pt x="199910" y="70308"/>
                    <a:pt x="191417" y="53424"/>
                  </a:cubicBezTo>
                  <a:cubicBezTo>
                    <a:pt x="182924" y="36540"/>
                    <a:pt x="171007" y="23310"/>
                    <a:pt x="155796" y="13986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09" y="189378"/>
                    <a:pt x="77581" y="185850"/>
                    <a:pt x="68707" y="178920"/>
                  </a:cubicBezTo>
                  <a:cubicBezTo>
                    <a:pt x="59961" y="171990"/>
                    <a:pt x="53368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8" y="62496"/>
                    <a:pt x="59961" y="53172"/>
                    <a:pt x="68707" y="46116"/>
                  </a:cubicBezTo>
                  <a:cubicBezTo>
                    <a:pt x="77454" y="39060"/>
                    <a:pt x="88609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2" name="Freihandform 38">
              <a:extLst>
                <a:ext uri="{FF2B5EF4-FFF2-40B4-BE49-F238E27FC236}">
                  <a16:creationId xmlns:a16="http://schemas.microsoft.com/office/drawing/2014/main" id="{A557F429-6F93-4F3C-B06C-6AA11804ED92}"/>
                </a:ext>
              </a:extLst>
            </p:cNvPr>
            <p:cNvSpPr/>
            <p:nvPr/>
          </p:nvSpPr>
          <p:spPr bwMode="invGray">
            <a:xfrm>
              <a:off x="1253635" y="465549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3" name="Freihandform 39">
              <a:extLst>
                <a:ext uri="{FF2B5EF4-FFF2-40B4-BE49-F238E27FC236}">
                  <a16:creationId xmlns:a16="http://schemas.microsoft.com/office/drawing/2014/main" id="{7DC88ECB-9263-4363-9D71-4514FF702696}"/>
                </a:ext>
              </a:extLst>
            </p:cNvPr>
            <p:cNvSpPr/>
            <p:nvPr/>
          </p:nvSpPr>
          <p:spPr bwMode="invGray">
            <a:xfrm>
              <a:off x="1287450" y="450397"/>
              <a:ext cx="9341" cy="63475"/>
            </a:xfrm>
            <a:custGeom>
              <a:avLst/>
              <a:gdLst>
                <a:gd name="connsiteX0" fmla="*/ 0 w 42720"/>
                <a:gd name="connsiteY0" fmla="*/ 0 h 290304"/>
                <a:gd name="connsiteX1" fmla="*/ 42720 w 42720"/>
                <a:gd name="connsiteY1" fmla="*/ 0 h 290304"/>
                <a:gd name="connsiteX2" fmla="*/ 42720 w 42720"/>
                <a:gd name="connsiteY2" fmla="*/ 290304 h 290304"/>
                <a:gd name="connsiteX3" fmla="*/ 0 w 42720"/>
                <a:gd name="connsiteY3" fmla="*/ 290304 h 29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90304">
                  <a:moveTo>
                    <a:pt x="0" y="0"/>
                  </a:moveTo>
                  <a:lnTo>
                    <a:pt x="42720" y="0"/>
                  </a:lnTo>
                  <a:lnTo>
                    <a:pt x="42720" y="290304"/>
                  </a:lnTo>
                  <a:lnTo>
                    <a:pt x="0" y="290304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4" name="Freihandform 40">
              <a:extLst>
                <a:ext uri="{FF2B5EF4-FFF2-40B4-BE49-F238E27FC236}">
                  <a16:creationId xmlns:a16="http://schemas.microsoft.com/office/drawing/2014/main" id="{BE070819-7F8D-4874-8710-2FC1516B1249}"/>
                </a:ext>
              </a:extLst>
            </p:cNvPr>
            <p:cNvSpPr/>
            <p:nvPr/>
          </p:nvSpPr>
          <p:spPr bwMode="invGray">
            <a:xfrm>
              <a:off x="1307323" y="450397"/>
              <a:ext cx="43793" cy="64411"/>
            </a:xfrm>
            <a:custGeom>
              <a:avLst/>
              <a:gdLst>
                <a:gd name="connsiteX0" fmla="*/ 157444 w 200290"/>
                <a:gd name="connsiteY0" fmla="*/ 107856 h 294587"/>
                <a:gd name="connsiteX1" fmla="*/ 154908 w 200290"/>
                <a:gd name="connsiteY1" fmla="*/ 107856 h 294587"/>
                <a:gd name="connsiteX2" fmla="*/ 144133 w 200290"/>
                <a:gd name="connsiteY2" fmla="*/ 92106 h 294587"/>
                <a:gd name="connsiteX3" fmla="*/ 124738 w 200290"/>
                <a:gd name="connsiteY3" fmla="*/ 76482 h 294587"/>
                <a:gd name="connsiteX4" fmla="*/ 91905 w 200290"/>
                <a:gd name="connsiteY4" fmla="*/ 69804 h 294587"/>
                <a:gd name="connsiteX5" fmla="*/ 44622 w 200290"/>
                <a:gd name="connsiteY5" fmla="*/ 83160 h 294587"/>
                <a:gd name="connsiteX6" fmla="*/ 11916 w 200290"/>
                <a:gd name="connsiteY6" fmla="*/ 121590 h 294587"/>
                <a:gd name="connsiteX7" fmla="*/ 0 w 200290"/>
                <a:gd name="connsiteY7" fmla="*/ 181944 h 294587"/>
                <a:gd name="connsiteX8" fmla="*/ 11789 w 200290"/>
                <a:gd name="connsiteY8" fmla="*/ 242424 h 294587"/>
                <a:gd name="connsiteX9" fmla="*/ 44368 w 200290"/>
                <a:gd name="connsiteY9" fmla="*/ 281106 h 294587"/>
                <a:gd name="connsiteX10" fmla="*/ 91652 w 200290"/>
                <a:gd name="connsiteY10" fmla="*/ 294588 h 294587"/>
                <a:gd name="connsiteX11" fmla="*/ 124231 w 200290"/>
                <a:gd name="connsiteY11" fmla="*/ 287910 h 294587"/>
                <a:gd name="connsiteX12" fmla="*/ 144006 w 200290"/>
                <a:gd name="connsiteY12" fmla="*/ 272286 h 294587"/>
                <a:gd name="connsiteX13" fmla="*/ 155035 w 200290"/>
                <a:gd name="connsiteY13" fmla="*/ 256410 h 294587"/>
                <a:gd name="connsiteX14" fmla="*/ 158585 w 200290"/>
                <a:gd name="connsiteY14" fmla="*/ 256410 h 294587"/>
                <a:gd name="connsiteX15" fmla="*/ 158585 w 200290"/>
                <a:gd name="connsiteY15" fmla="*/ 290304 h 294587"/>
                <a:gd name="connsiteX16" fmla="*/ 200290 w 200290"/>
                <a:gd name="connsiteY16" fmla="*/ 290304 h 294587"/>
                <a:gd name="connsiteX17" fmla="*/ 200290 w 200290"/>
                <a:gd name="connsiteY17" fmla="*/ 0 h 294587"/>
                <a:gd name="connsiteX18" fmla="*/ 157570 w 200290"/>
                <a:gd name="connsiteY18" fmla="*/ 0 h 294587"/>
                <a:gd name="connsiteX19" fmla="*/ 157570 w 200290"/>
                <a:gd name="connsiteY19" fmla="*/ 107856 h 294587"/>
                <a:gd name="connsiteX20" fmla="*/ 151612 w 200290"/>
                <a:gd name="connsiteY20" fmla="*/ 221760 h 294587"/>
                <a:gd name="connsiteX21" fmla="*/ 132217 w 200290"/>
                <a:gd name="connsiteY21" fmla="*/ 248724 h 294587"/>
                <a:gd name="connsiteX22" fmla="*/ 101033 w 200290"/>
                <a:gd name="connsiteY22" fmla="*/ 258426 h 294587"/>
                <a:gd name="connsiteX23" fmla="*/ 69214 w 200290"/>
                <a:gd name="connsiteY23" fmla="*/ 248346 h 294587"/>
                <a:gd name="connsiteX24" fmla="*/ 49819 w 200290"/>
                <a:gd name="connsiteY24" fmla="*/ 220752 h 294587"/>
                <a:gd name="connsiteX25" fmla="*/ 43227 w 200290"/>
                <a:gd name="connsiteY25" fmla="*/ 181440 h 294587"/>
                <a:gd name="connsiteX26" fmla="*/ 49693 w 200290"/>
                <a:gd name="connsiteY26" fmla="*/ 142758 h 294587"/>
                <a:gd name="connsiteX27" fmla="*/ 68961 w 200290"/>
                <a:gd name="connsiteY27" fmla="*/ 115668 h 294587"/>
                <a:gd name="connsiteX28" fmla="*/ 101033 w 200290"/>
                <a:gd name="connsiteY28" fmla="*/ 105714 h 294587"/>
                <a:gd name="connsiteX29" fmla="*/ 132471 w 200290"/>
                <a:gd name="connsiteY29" fmla="*/ 115164 h 294587"/>
                <a:gd name="connsiteX30" fmla="*/ 151739 w 200290"/>
                <a:gd name="connsiteY30" fmla="*/ 141624 h 294587"/>
                <a:gd name="connsiteX31" fmla="*/ 158331 w 200290"/>
                <a:gd name="connsiteY31" fmla="*/ 181314 h 294587"/>
                <a:gd name="connsiteX32" fmla="*/ 151612 w 200290"/>
                <a:gd name="connsiteY32" fmla="*/ 221760 h 29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290" h="294587">
                  <a:moveTo>
                    <a:pt x="157444" y="107856"/>
                  </a:moveTo>
                  <a:lnTo>
                    <a:pt x="154908" y="107856"/>
                  </a:lnTo>
                  <a:cubicBezTo>
                    <a:pt x="152373" y="103320"/>
                    <a:pt x="148697" y="98028"/>
                    <a:pt x="144133" y="92106"/>
                  </a:cubicBezTo>
                  <a:cubicBezTo>
                    <a:pt x="139443" y="86184"/>
                    <a:pt x="132978" y="80892"/>
                    <a:pt x="124738" y="76482"/>
                  </a:cubicBezTo>
                  <a:cubicBezTo>
                    <a:pt x="116371" y="71946"/>
                    <a:pt x="105470" y="69804"/>
                    <a:pt x="91905" y="69804"/>
                  </a:cubicBezTo>
                  <a:cubicBezTo>
                    <a:pt x="74285" y="69804"/>
                    <a:pt x="58566" y="74214"/>
                    <a:pt x="44622" y="83160"/>
                  </a:cubicBezTo>
                  <a:cubicBezTo>
                    <a:pt x="30678" y="92106"/>
                    <a:pt x="19775" y="104832"/>
                    <a:pt x="11916" y="121590"/>
                  </a:cubicBezTo>
                  <a:cubicBezTo>
                    <a:pt x="3930" y="138348"/>
                    <a:pt x="0" y="158508"/>
                    <a:pt x="0" y="181944"/>
                  </a:cubicBezTo>
                  <a:cubicBezTo>
                    <a:pt x="0" y="205506"/>
                    <a:pt x="3930" y="225666"/>
                    <a:pt x="11789" y="242424"/>
                  </a:cubicBezTo>
                  <a:cubicBezTo>
                    <a:pt x="19649" y="259182"/>
                    <a:pt x="30424" y="272034"/>
                    <a:pt x="44368" y="281106"/>
                  </a:cubicBezTo>
                  <a:cubicBezTo>
                    <a:pt x="58186" y="290178"/>
                    <a:pt x="73905" y="294588"/>
                    <a:pt x="91652" y="294588"/>
                  </a:cubicBezTo>
                  <a:cubicBezTo>
                    <a:pt x="104962" y="294588"/>
                    <a:pt x="115738" y="292320"/>
                    <a:pt x="124231" y="287910"/>
                  </a:cubicBezTo>
                  <a:cubicBezTo>
                    <a:pt x="132597" y="283500"/>
                    <a:pt x="139189" y="278208"/>
                    <a:pt x="144006" y="272286"/>
                  </a:cubicBezTo>
                  <a:cubicBezTo>
                    <a:pt x="148823" y="266364"/>
                    <a:pt x="152500" y="261072"/>
                    <a:pt x="155035" y="256410"/>
                  </a:cubicBezTo>
                  <a:lnTo>
                    <a:pt x="158585" y="256410"/>
                  </a:lnTo>
                  <a:lnTo>
                    <a:pt x="158585" y="290304"/>
                  </a:lnTo>
                  <a:lnTo>
                    <a:pt x="200290" y="290304"/>
                  </a:lnTo>
                  <a:lnTo>
                    <a:pt x="200290" y="0"/>
                  </a:lnTo>
                  <a:lnTo>
                    <a:pt x="157570" y="0"/>
                  </a:lnTo>
                  <a:lnTo>
                    <a:pt x="157570" y="107856"/>
                  </a:lnTo>
                  <a:close/>
                  <a:moveTo>
                    <a:pt x="151612" y="221760"/>
                  </a:moveTo>
                  <a:cubicBezTo>
                    <a:pt x="147175" y="233226"/>
                    <a:pt x="140711" y="242298"/>
                    <a:pt x="132217" y="248724"/>
                  </a:cubicBezTo>
                  <a:cubicBezTo>
                    <a:pt x="123724" y="255150"/>
                    <a:pt x="113329" y="258426"/>
                    <a:pt x="101033" y="258426"/>
                  </a:cubicBezTo>
                  <a:cubicBezTo>
                    <a:pt x="88356" y="258426"/>
                    <a:pt x="77708" y="255024"/>
                    <a:pt x="69214" y="248346"/>
                  </a:cubicBezTo>
                  <a:cubicBezTo>
                    <a:pt x="60594" y="241542"/>
                    <a:pt x="54129" y="232344"/>
                    <a:pt x="49819" y="220752"/>
                  </a:cubicBezTo>
                  <a:cubicBezTo>
                    <a:pt x="45382" y="209160"/>
                    <a:pt x="43227" y="196056"/>
                    <a:pt x="43227" y="181440"/>
                  </a:cubicBezTo>
                  <a:cubicBezTo>
                    <a:pt x="43227" y="167076"/>
                    <a:pt x="45382" y="154224"/>
                    <a:pt x="49693" y="142758"/>
                  </a:cubicBezTo>
                  <a:cubicBezTo>
                    <a:pt x="54003" y="131292"/>
                    <a:pt x="60467" y="122346"/>
                    <a:pt x="68961" y="115668"/>
                  </a:cubicBezTo>
                  <a:cubicBezTo>
                    <a:pt x="77454" y="108990"/>
                    <a:pt x="88229" y="105714"/>
                    <a:pt x="101033" y="105714"/>
                  </a:cubicBezTo>
                  <a:cubicBezTo>
                    <a:pt x="113456" y="105714"/>
                    <a:pt x="123977" y="108864"/>
                    <a:pt x="132471" y="115164"/>
                  </a:cubicBezTo>
                  <a:cubicBezTo>
                    <a:pt x="140964" y="121464"/>
                    <a:pt x="147302" y="130284"/>
                    <a:pt x="151739" y="141624"/>
                  </a:cubicBezTo>
                  <a:cubicBezTo>
                    <a:pt x="156049" y="152964"/>
                    <a:pt x="158331" y="166194"/>
                    <a:pt x="158331" y="181314"/>
                  </a:cubicBezTo>
                  <a:cubicBezTo>
                    <a:pt x="158204" y="196812"/>
                    <a:pt x="156049" y="210168"/>
                    <a:pt x="151612" y="22176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5" name="Freihandform 41">
              <a:extLst>
                <a:ext uri="{FF2B5EF4-FFF2-40B4-BE49-F238E27FC236}">
                  <a16:creationId xmlns:a16="http://schemas.microsoft.com/office/drawing/2014/main" id="{874300A1-6EF5-45E8-A8F2-13B9427E8203}"/>
                </a:ext>
              </a:extLst>
            </p:cNvPr>
            <p:cNvSpPr/>
            <p:nvPr/>
          </p:nvSpPr>
          <p:spPr bwMode="invGray">
            <a:xfrm>
              <a:off x="1364393" y="502108"/>
              <a:ext cx="12473" cy="12370"/>
            </a:xfrm>
            <a:custGeom>
              <a:avLst/>
              <a:gdLst>
                <a:gd name="connsiteX0" fmla="*/ 28395 w 57044"/>
                <a:gd name="connsiteY0" fmla="*/ 0 h 56573"/>
                <a:gd name="connsiteX1" fmla="*/ 8367 w 57044"/>
                <a:gd name="connsiteY1" fmla="*/ 8316 h 56573"/>
                <a:gd name="connsiteX2" fmla="*/ 0 w 57044"/>
                <a:gd name="connsiteY2" fmla="*/ 28224 h 56573"/>
                <a:gd name="connsiteX3" fmla="*/ 8367 w 57044"/>
                <a:gd name="connsiteY3" fmla="*/ 48258 h 56573"/>
                <a:gd name="connsiteX4" fmla="*/ 28395 w 57044"/>
                <a:gd name="connsiteY4" fmla="*/ 56574 h 56573"/>
                <a:gd name="connsiteX5" fmla="*/ 42720 w 57044"/>
                <a:gd name="connsiteY5" fmla="*/ 52794 h 56573"/>
                <a:gd name="connsiteX6" fmla="*/ 53115 w 57044"/>
                <a:gd name="connsiteY6" fmla="*/ 42462 h 56573"/>
                <a:gd name="connsiteX7" fmla="*/ 57045 w 57044"/>
                <a:gd name="connsiteY7" fmla="*/ 28224 h 56573"/>
                <a:gd name="connsiteX8" fmla="*/ 48678 w 57044"/>
                <a:gd name="connsiteY8" fmla="*/ 8316 h 56573"/>
                <a:gd name="connsiteX9" fmla="*/ 28395 w 57044"/>
                <a:gd name="connsiteY9" fmla="*/ 0 h 5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44" h="56573">
                  <a:moveTo>
                    <a:pt x="28395" y="0"/>
                  </a:moveTo>
                  <a:cubicBezTo>
                    <a:pt x="20663" y="0"/>
                    <a:pt x="13944" y="2772"/>
                    <a:pt x="8367" y="8316"/>
                  </a:cubicBezTo>
                  <a:cubicBezTo>
                    <a:pt x="2789" y="13860"/>
                    <a:pt x="0" y="20538"/>
                    <a:pt x="0" y="28224"/>
                  </a:cubicBezTo>
                  <a:cubicBezTo>
                    <a:pt x="0" y="36036"/>
                    <a:pt x="2789" y="42714"/>
                    <a:pt x="8367" y="48258"/>
                  </a:cubicBezTo>
                  <a:cubicBezTo>
                    <a:pt x="13944" y="53802"/>
                    <a:pt x="20663" y="56574"/>
                    <a:pt x="28395" y="56574"/>
                  </a:cubicBezTo>
                  <a:cubicBezTo>
                    <a:pt x="33593" y="56574"/>
                    <a:pt x="38410" y="55314"/>
                    <a:pt x="42720" y="52794"/>
                  </a:cubicBezTo>
                  <a:cubicBezTo>
                    <a:pt x="47030" y="50274"/>
                    <a:pt x="50453" y="46872"/>
                    <a:pt x="53115" y="42462"/>
                  </a:cubicBezTo>
                  <a:cubicBezTo>
                    <a:pt x="55777" y="38178"/>
                    <a:pt x="57045" y="33390"/>
                    <a:pt x="57045" y="28224"/>
                  </a:cubicBezTo>
                  <a:cubicBezTo>
                    <a:pt x="57045" y="20412"/>
                    <a:pt x="54256" y="13860"/>
                    <a:pt x="48678" y="8316"/>
                  </a:cubicBezTo>
                  <a:cubicBezTo>
                    <a:pt x="42847" y="2772"/>
                    <a:pt x="36128" y="0"/>
                    <a:pt x="28395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  <p:sp>
        <p:nvSpPr>
          <p:cNvPr id="11" name="Titel 10">
            <a:extLst>
              <a:ext uri="{FF2B5EF4-FFF2-40B4-BE49-F238E27FC236}">
                <a16:creationId xmlns:a16="http://schemas.microsoft.com/office/drawing/2014/main" id="{A61DA797-8454-4364-8770-8101AFDD41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4032000" cy="1883593"/>
          </a:xfrm>
        </p:spPr>
        <p:txBody>
          <a:bodyPr vert="horz" anchor="b"/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US"/>
              <a:t>Titl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FEAEEB5-CEA6-41B3-AE59-98285007A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3525" y="4357103"/>
            <a:ext cx="4032000" cy="246221"/>
          </a:xfrm>
        </p:spPr>
        <p:txBody>
          <a:bodyPr>
            <a:noAutofit/>
          </a:bodyPr>
          <a:lstStyle>
            <a:lvl1pPr marL="0" indent="0" rtl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line optional Inter Medium 16pt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80E2349F-1508-4D41-A46E-B4E8D0F7F0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3525" y="5688568"/>
            <a:ext cx="4032000" cy="369332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uthor, </a:t>
            </a:r>
            <a:br>
              <a:rPr lang="en-US"/>
            </a:br>
            <a:r>
              <a:rPr lang="en-US"/>
              <a:t>Place, Date Inter 12pt</a:t>
            </a:r>
          </a:p>
        </p:txBody>
      </p:sp>
    </p:spTree>
    <p:extLst>
      <p:ext uri="{BB962C8B-B14F-4D97-AF65-F5344CB8AC3E}">
        <p14:creationId xmlns:p14="http://schemas.microsoft.com/office/powerpoint/2010/main" val="357859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white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4788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000" y="1504673"/>
            <a:ext cx="11664950" cy="627864"/>
          </a:xfrm>
        </p:spPr>
        <p:txBody>
          <a:bodyPr vert="horz"/>
          <a:lstStyle>
            <a:lvl1pPr rtl="0">
              <a:lnSpc>
                <a:spcPct val="85000"/>
              </a:lnSpc>
              <a:defRPr sz="4800" b="0" cap="all" baseline="0">
                <a:solidFill>
                  <a:schemeClr val="accent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63B0BBE-C8D1-4B8A-86AD-5F18CA64F4F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B0E71893-7759-4423-BAF4-78E35BAB1FA0}" type="datetime4">
              <a:rPr lang="en-US" smtClean="0"/>
              <a:t>July 4, 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E5748FC-EE3E-4320-997D-166154297E9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057657D-7D04-4A43-B422-F6065D8AA9D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AB147CD-F44C-49F4-BBD7-07B808F457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0000" y="2605389"/>
            <a:ext cx="5651500" cy="3344562"/>
          </a:xfrm>
        </p:spPr>
        <p:txBody>
          <a:bodyPr/>
          <a:lstStyle>
            <a:lvl1pPr rtl="0">
              <a:tabLst>
                <a:tab pos="355600" algn="l"/>
              </a:tabLst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C170A1-A61A-418F-A3F4-E4A62509A3F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83325" y="2605389"/>
            <a:ext cx="5638800" cy="3344561"/>
          </a:xfrm>
        </p:spPr>
        <p:txBody>
          <a:bodyPr/>
          <a:lstStyle>
            <a:lvl1pPr rtl="0">
              <a:tabLst>
                <a:tab pos="355600" algn="l"/>
              </a:tabLst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1485115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7" orient="horz" pos="374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white -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8092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000" y="1504673"/>
            <a:ext cx="4032000" cy="627864"/>
          </a:xfrm>
        </p:spPr>
        <p:txBody>
          <a:bodyPr vert="horz"/>
          <a:lstStyle>
            <a:lvl1pPr rtl="0">
              <a:lnSpc>
                <a:spcPct val="85000"/>
              </a:lnSpc>
              <a:defRPr sz="4800" b="0" cap="all" baseline="0">
                <a:solidFill>
                  <a:schemeClr val="accent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14A86269-F360-46CC-9E3E-FB55A79D73B1}"/>
              </a:ext>
            </a:extLst>
          </p:cNvPr>
          <p:cNvSpPr/>
          <p:nvPr/>
        </p:nvSpPr>
        <p:spPr bwMode="invGray">
          <a:xfrm>
            <a:off x="4591254" y="-1"/>
            <a:ext cx="7602228" cy="6858001"/>
          </a:xfrm>
          <a:custGeom>
            <a:avLst/>
            <a:gdLst>
              <a:gd name="connsiteX0" fmla="*/ 3293816 w 7602228"/>
              <a:gd name="connsiteY0" fmla="*/ 4038523 h 6858001"/>
              <a:gd name="connsiteX1" fmla="*/ 4309498 w 7602228"/>
              <a:gd name="connsiteY1" fmla="*/ 4038523 h 6858001"/>
              <a:gd name="connsiteX2" fmla="*/ 4309498 w 7602228"/>
              <a:gd name="connsiteY2" fmla="*/ 6858001 h 6858001"/>
              <a:gd name="connsiteX3" fmla="*/ 3293816 w 7602228"/>
              <a:gd name="connsiteY3" fmla="*/ 6858001 h 6858001"/>
              <a:gd name="connsiteX4" fmla="*/ 1268071 w 7602228"/>
              <a:gd name="connsiteY4" fmla="*/ 3540455 h 6858001"/>
              <a:gd name="connsiteX5" fmla="*/ 2395990 w 7602228"/>
              <a:gd name="connsiteY5" fmla="*/ 3540455 h 6858001"/>
              <a:gd name="connsiteX6" fmla="*/ 1128430 w 7602228"/>
              <a:gd name="connsiteY6" fmla="*/ 6074552 h 6858001"/>
              <a:gd name="connsiteX7" fmla="*/ 0 w 7602228"/>
              <a:gd name="connsiteY7" fmla="*/ 6074552 h 6858001"/>
              <a:gd name="connsiteX8" fmla="*/ 3037787 w 7602228"/>
              <a:gd name="connsiteY8" fmla="*/ 0 h 6858001"/>
              <a:gd name="connsiteX9" fmla="*/ 4565464 w 7602228"/>
              <a:gd name="connsiteY9" fmla="*/ 0 h 6858001"/>
              <a:gd name="connsiteX10" fmla="*/ 7602228 w 7602228"/>
              <a:gd name="connsiteY10" fmla="*/ 6076086 h 6858001"/>
              <a:gd name="connsiteX11" fmla="*/ 6474309 w 7602228"/>
              <a:gd name="connsiteY11" fmla="*/ 6076086 h 6858001"/>
              <a:gd name="connsiteX12" fmla="*/ 3801657 w 7602228"/>
              <a:gd name="connsiteY12" fmla="*/ 730206 h 6858001"/>
              <a:gd name="connsiteX13" fmla="*/ 3154686 w 7602228"/>
              <a:gd name="connsiteY13" fmla="*/ 2023126 h 6858001"/>
              <a:gd name="connsiteX14" fmla="*/ 2026256 w 7602228"/>
              <a:gd name="connsiteY14" fmla="*/ 2023126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602228" h="6858001">
                <a:moveTo>
                  <a:pt x="3293816" y="4038523"/>
                </a:moveTo>
                <a:lnTo>
                  <a:pt x="4309498" y="4038523"/>
                </a:lnTo>
                <a:lnTo>
                  <a:pt x="4309498" y="6858001"/>
                </a:lnTo>
                <a:lnTo>
                  <a:pt x="3293816" y="6858001"/>
                </a:lnTo>
                <a:close/>
                <a:moveTo>
                  <a:pt x="1268071" y="3540455"/>
                </a:moveTo>
                <a:lnTo>
                  <a:pt x="2395990" y="3540455"/>
                </a:lnTo>
                <a:lnTo>
                  <a:pt x="1128430" y="6074552"/>
                </a:lnTo>
                <a:lnTo>
                  <a:pt x="0" y="6074552"/>
                </a:lnTo>
                <a:close/>
                <a:moveTo>
                  <a:pt x="3037787" y="0"/>
                </a:moveTo>
                <a:lnTo>
                  <a:pt x="4565464" y="0"/>
                </a:lnTo>
                <a:lnTo>
                  <a:pt x="7602228" y="6076086"/>
                </a:lnTo>
                <a:lnTo>
                  <a:pt x="6474309" y="6076086"/>
                </a:lnTo>
                <a:lnTo>
                  <a:pt x="3801657" y="730206"/>
                </a:lnTo>
                <a:lnTo>
                  <a:pt x="3154686" y="2023126"/>
                </a:lnTo>
                <a:lnTo>
                  <a:pt x="2026256" y="2023126"/>
                </a:lnTo>
                <a:close/>
              </a:path>
            </a:pathLst>
          </a:custGeom>
          <a:gradFill>
            <a:gsLst>
              <a:gs pos="1000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B827A40-2243-41D2-AAC1-26ADF3EB250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1B99E87D-7F57-4B8F-8ABF-7082A340114F}" type="datetime4">
              <a:rPr lang="en-US" smtClean="0"/>
              <a:t>July 4, 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A8824A-0ACB-42C0-BB07-6429351105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CE2B5BB-65FA-4E86-B566-4591BB4776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161F6F9-FC25-4A71-8BF1-274245F8F67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0000" y="2605389"/>
            <a:ext cx="4032000" cy="3340100"/>
          </a:xfrm>
        </p:spPr>
        <p:txBody>
          <a:bodyPr/>
          <a:lstStyle>
            <a:lvl1pPr rtl="0">
              <a:tabLst>
                <a:tab pos="355600" algn="l"/>
              </a:tabLst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1983408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7" orient="horz" pos="374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white - small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6297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000" y="1504673"/>
            <a:ext cx="11664950" cy="627864"/>
          </a:xfrm>
        </p:spPr>
        <p:txBody>
          <a:bodyPr vert="horz"/>
          <a:lstStyle>
            <a:lvl1pPr rtl="0">
              <a:lnSpc>
                <a:spcPct val="85000"/>
              </a:lnSpc>
              <a:defRPr sz="4800" b="0" cap="all" baseline="0">
                <a:solidFill>
                  <a:schemeClr val="accent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8" name="Grafik 2">
            <a:extLst>
              <a:ext uri="{FF2B5EF4-FFF2-40B4-BE49-F238E27FC236}">
                <a16:creationId xmlns:a16="http://schemas.microsoft.com/office/drawing/2014/main" id="{F834D6E4-1C6E-4069-9F58-E568CAF900C2}"/>
              </a:ext>
            </a:extLst>
          </p:cNvPr>
          <p:cNvSpPr>
            <a:spLocks/>
          </p:cNvSpPr>
          <p:nvPr/>
        </p:nvSpPr>
        <p:spPr>
          <a:xfrm>
            <a:off x="270001" y="2605389"/>
            <a:ext cx="1684964" cy="1115585"/>
          </a:xfrm>
          <a:custGeom>
            <a:avLst/>
            <a:gdLst>
              <a:gd name="connsiteX0" fmla="*/ 228596 w 228600"/>
              <a:gd name="connsiteY0" fmla="*/ 60095 h 151352"/>
              <a:gd name="connsiteX1" fmla="*/ 228596 w 228600"/>
              <a:gd name="connsiteY1" fmla="*/ 90384 h 151352"/>
              <a:gd name="connsiteX2" fmla="*/ 109153 w 228600"/>
              <a:gd name="connsiteY2" fmla="*/ 151344 h 151352"/>
              <a:gd name="connsiteX3" fmla="*/ 100390 w 228600"/>
              <a:gd name="connsiteY3" fmla="*/ 134390 h 151352"/>
              <a:gd name="connsiteX4" fmla="*/ 209546 w 228600"/>
              <a:gd name="connsiteY4" fmla="*/ 78668 h 151352"/>
              <a:gd name="connsiteX5" fmla="*/ 209546 w 228600"/>
              <a:gd name="connsiteY5" fmla="*/ 71810 h 151352"/>
              <a:gd name="connsiteX6" fmla="*/ 183448 w 228600"/>
              <a:gd name="connsiteY6" fmla="*/ 58666 h 151352"/>
              <a:gd name="connsiteX7" fmla="*/ 191925 w 228600"/>
              <a:gd name="connsiteY7" fmla="*/ 41711 h 151352"/>
              <a:gd name="connsiteX8" fmla="*/ 158111 w 228600"/>
              <a:gd name="connsiteY8" fmla="*/ 24662 h 151352"/>
              <a:gd name="connsiteX9" fmla="*/ 109057 w 228600"/>
              <a:gd name="connsiteY9" fmla="*/ -8 h 151352"/>
              <a:gd name="connsiteX10" fmla="*/ 100485 w 228600"/>
              <a:gd name="connsiteY10" fmla="*/ 17042 h 151352"/>
              <a:gd name="connsiteX11" fmla="*/ 149539 w 228600"/>
              <a:gd name="connsiteY11" fmla="*/ 41711 h 151352"/>
              <a:gd name="connsiteX12" fmla="*/ 133346 w 228600"/>
              <a:gd name="connsiteY12" fmla="*/ 66191 h 151352"/>
              <a:gd name="connsiteX13" fmla="*/ -4 w 228600"/>
              <a:gd name="connsiteY13" fmla="*/ 66191 h 151352"/>
              <a:gd name="connsiteX14" fmla="*/ -4 w 228600"/>
              <a:gd name="connsiteY14" fmla="*/ 85241 h 151352"/>
              <a:gd name="connsiteX15" fmla="*/ 133346 w 228600"/>
              <a:gd name="connsiteY15" fmla="*/ 85241 h 151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28600" h="151352">
                <a:moveTo>
                  <a:pt x="228596" y="60095"/>
                </a:moveTo>
                <a:lnTo>
                  <a:pt x="228596" y="90384"/>
                </a:lnTo>
                <a:lnTo>
                  <a:pt x="109153" y="151344"/>
                </a:lnTo>
                <a:lnTo>
                  <a:pt x="100390" y="134390"/>
                </a:lnTo>
                <a:lnTo>
                  <a:pt x="209546" y="78668"/>
                </a:lnTo>
                <a:lnTo>
                  <a:pt x="209546" y="71810"/>
                </a:lnTo>
                <a:lnTo>
                  <a:pt x="183448" y="58666"/>
                </a:lnTo>
                <a:lnTo>
                  <a:pt x="191925" y="41711"/>
                </a:lnTo>
                <a:close/>
                <a:moveTo>
                  <a:pt x="158111" y="24662"/>
                </a:moveTo>
                <a:lnTo>
                  <a:pt x="109057" y="-8"/>
                </a:lnTo>
                <a:lnTo>
                  <a:pt x="100485" y="17042"/>
                </a:lnTo>
                <a:lnTo>
                  <a:pt x="149539" y="41711"/>
                </a:lnTo>
                <a:close/>
                <a:moveTo>
                  <a:pt x="133346" y="66191"/>
                </a:moveTo>
                <a:lnTo>
                  <a:pt x="-4" y="66191"/>
                </a:lnTo>
                <a:lnTo>
                  <a:pt x="-4" y="85241"/>
                </a:lnTo>
                <a:lnTo>
                  <a:pt x="133346" y="8524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EDC45DE-3C3C-46B4-A3CB-33A5815FE84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AEE00FD9-688C-4E8F-BC4B-73A30FC4CD95}" type="datetime4">
              <a:rPr lang="en-US" smtClean="0"/>
              <a:t>July 4, 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C0EF7AF-B27F-43A3-AA77-707F7FCBD96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9D895A-F629-410E-AC2A-B842E8BD2F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95230CD-1D36-40F1-95B3-D371D01E59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59262" y="2605388"/>
            <a:ext cx="5652000" cy="3344562"/>
          </a:xfrm>
        </p:spPr>
        <p:txBody>
          <a:bodyPr/>
          <a:lstStyle>
            <a:lvl1pPr rtl="0">
              <a:tabLst>
                <a:tab pos="355600" algn="l"/>
              </a:tabLst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2612430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683">
          <p15:clr>
            <a:srgbClr val="FBAE40"/>
          </p15:clr>
        </p15:guide>
        <p15:guide id="3" pos="2479">
          <p15:clr>
            <a:srgbClr val="FBAE40"/>
          </p15:clr>
        </p15:guide>
        <p15:guide id="7" orient="horz" pos="374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- blue - arr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6817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ABEB68DB-D429-470B-9F61-960355E206D9}"/>
              </a:ext>
            </a:extLst>
          </p:cNvPr>
          <p:cNvSpPr/>
          <p:nvPr/>
        </p:nvSpPr>
        <p:spPr>
          <a:xfrm>
            <a:off x="7620000" y="0"/>
            <a:ext cx="457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sp>
        <p:nvSpPr>
          <p:cNvPr id="49" name="Freihandform: Form 48">
            <a:extLst>
              <a:ext uri="{FF2B5EF4-FFF2-40B4-BE49-F238E27FC236}">
                <a16:creationId xmlns:a16="http://schemas.microsoft.com/office/drawing/2014/main" id="{B5B84EF5-2C63-4B4D-8C1F-4659BDC6CF47}"/>
              </a:ext>
            </a:extLst>
          </p:cNvPr>
          <p:cNvSpPr/>
          <p:nvPr/>
        </p:nvSpPr>
        <p:spPr bwMode="invGray">
          <a:xfrm>
            <a:off x="8450404" y="-3475"/>
            <a:ext cx="3741596" cy="6861519"/>
          </a:xfrm>
          <a:custGeom>
            <a:avLst/>
            <a:gdLst>
              <a:gd name="connsiteX0" fmla="*/ 2229661 w 3741596"/>
              <a:gd name="connsiteY0" fmla="*/ 2733771 h 6861519"/>
              <a:gd name="connsiteX1" fmla="*/ 2917201 w 3741596"/>
              <a:gd name="connsiteY1" fmla="*/ 2733771 h 6861519"/>
              <a:gd name="connsiteX2" fmla="*/ 2917201 w 3741596"/>
              <a:gd name="connsiteY2" fmla="*/ 6861519 h 6861519"/>
              <a:gd name="connsiteX3" fmla="*/ 2229661 w 3741596"/>
              <a:gd name="connsiteY3" fmla="*/ 6861519 h 6861519"/>
              <a:gd name="connsiteX4" fmla="*/ 858387 w 3741596"/>
              <a:gd name="connsiteY4" fmla="*/ 2396617 h 6861519"/>
              <a:gd name="connsiteX5" fmla="*/ 1621902 w 3741596"/>
              <a:gd name="connsiteY5" fmla="*/ 2396617 h 6861519"/>
              <a:gd name="connsiteX6" fmla="*/ 763861 w 3741596"/>
              <a:gd name="connsiteY6" fmla="*/ 4112008 h 6861519"/>
              <a:gd name="connsiteX7" fmla="*/ 0 w 3741596"/>
              <a:gd name="connsiteY7" fmla="*/ 4112008 h 6861519"/>
              <a:gd name="connsiteX8" fmla="*/ 2056349 w 3741596"/>
              <a:gd name="connsiteY8" fmla="*/ 0 h 6861519"/>
              <a:gd name="connsiteX9" fmla="*/ 3090470 w 3741596"/>
              <a:gd name="connsiteY9" fmla="*/ 0 h 6861519"/>
              <a:gd name="connsiteX10" fmla="*/ 3741596 w 3741596"/>
              <a:gd name="connsiteY10" fmla="*/ 1302800 h 6861519"/>
              <a:gd name="connsiteX11" fmla="*/ 3741596 w 3741596"/>
              <a:gd name="connsiteY11" fmla="*/ 2830876 h 6861519"/>
              <a:gd name="connsiteX12" fmla="*/ 2573431 w 3741596"/>
              <a:gd name="connsiteY12" fmla="*/ 494294 h 6861519"/>
              <a:gd name="connsiteX13" fmla="*/ 2135481 w 3741596"/>
              <a:gd name="connsiteY13" fmla="*/ 1369502 h 6861519"/>
              <a:gd name="connsiteX14" fmla="*/ 1371620 w 3741596"/>
              <a:gd name="connsiteY14" fmla="*/ 1369502 h 6861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741596" h="6861519">
                <a:moveTo>
                  <a:pt x="2229661" y="2733771"/>
                </a:moveTo>
                <a:lnTo>
                  <a:pt x="2917201" y="2733771"/>
                </a:lnTo>
                <a:lnTo>
                  <a:pt x="2917201" y="6861519"/>
                </a:lnTo>
                <a:lnTo>
                  <a:pt x="2229661" y="6861519"/>
                </a:lnTo>
                <a:close/>
                <a:moveTo>
                  <a:pt x="858387" y="2396617"/>
                </a:moveTo>
                <a:lnTo>
                  <a:pt x="1621902" y="2396617"/>
                </a:lnTo>
                <a:lnTo>
                  <a:pt x="763861" y="4112008"/>
                </a:lnTo>
                <a:lnTo>
                  <a:pt x="0" y="4112008"/>
                </a:lnTo>
                <a:close/>
                <a:moveTo>
                  <a:pt x="2056349" y="0"/>
                </a:moveTo>
                <a:lnTo>
                  <a:pt x="3090470" y="0"/>
                </a:lnTo>
                <a:lnTo>
                  <a:pt x="3741596" y="1302800"/>
                </a:lnTo>
                <a:lnTo>
                  <a:pt x="3741596" y="2830876"/>
                </a:lnTo>
                <a:lnTo>
                  <a:pt x="2573431" y="494294"/>
                </a:lnTo>
                <a:lnTo>
                  <a:pt x="2135481" y="1369502"/>
                </a:lnTo>
                <a:lnTo>
                  <a:pt x="1371620" y="1369502"/>
                </a:lnTo>
                <a:close/>
              </a:path>
            </a:pathLst>
          </a:custGeom>
          <a:gradFill>
            <a:gsLst>
              <a:gs pos="1500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 rtl="0"/>
            <a:endParaRPr lang="en-US"/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B91CBA8-3A30-4319-912F-DAE49A826C0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619E8EF9-C19D-4A56-B076-62559F8A7759}" type="datetime4">
              <a:rPr lang="en-US" smtClean="0"/>
              <a:t>July 4, 2024</a:t>
            </a:fld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2AB80AD-C777-4398-89D4-114DD23D749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7BA5CCC-CF7E-4023-AAB8-4F9D6F65117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80347F-E47B-42E6-BF6D-EF72399B58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wrap="square" anchor="b">
            <a:spAutoFit/>
          </a:bodyPr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US"/>
              <a:t>CHAPTER SLID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4DC409F3-15C2-4EA9-AB91-5401A5AB68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line optional Inter Medium 16pt</a:t>
            </a:r>
          </a:p>
        </p:txBody>
      </p:sp>
    </p:spTree>
    <p:extLst>
      <p:ext uri="{BB962C8B-B14F-4D97-AF65-F5344CB8AC3E}">
        <p14:creationId xmlns:p14="http://schemas.microsoft.com/office/powerpoint/2010/main" val="1883877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- blue - pattern lar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6373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ABEB68DB-D429-470B-9F61-960355E206D9}"/>
              </a:ext>
            </a:extLst>
          </p:cNvPr>
          <p:cNvSpPr>
            <a:spLocks/>
          </p:cNvSpPr>
          <p:nvPr/>
        </p:nvSpPr>
        <p:spPr>
          <a:xfrm>
            <a:off x="7620000" y="0"/>
            <a:ext cx="457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FB547CC-EC28-4E0E-971E-3704F93507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pic>
        <p:nvPicPr>
          <p:cNvPr id="3" name="Grafik 2" descr="Ein Bild, das drinnen, Spinnennetz, Outdoorobjekt enthält.&#10;&#10;Automatisch generierte Beschreibung">
            <a:extLst>
              <a:ext uri="{FF2B5EF4-FFF2-40B4-BE49-F238E27FC236}">
                <a16:creationId xmlns:a16="http://schemas.microsoft.com/office/drawing/2014/main" id="{6FD2616D-BD55-4F15-B7AC-7E455D2103B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4715" t="2072"/>
          <a:stretch/>
        </p:blipFill>
        <p:spPr>
          <a:xfrm flipH="1">
            <a:off x="7619997" y="0"/>
            <a:ext cx="4572001" cy="6858000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E3225D3-78FC-40A1-A1F1-7AA2B1540733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42806F9-F22E-47E4-8B90-5A13B4A2D4FC}" type="datetime4">
              <a:rPr lang="en-US" smtClean="0"/>
              <a:t>July 4, 2024</a:t>
            </a:fld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4114991-A17E-465D-AECF-12FE07368C0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6B4B218-F60B-4903-9F66-F175BEF97C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anchor="b">
            <a:spAutoFit/>
          </a:bodyPr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US"/>
              <a:t>CHAPTER SLID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14262FF-389E-44A8-81D2-FBA0BC697F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line optional Inter Medium 16pt</a:t>
            </a:r>
          </a:p>
        </p:txBody>
      </p:sp>
    </p:spTree>
    <p:extLst>
      <p:ext uri="{BB962C8B-B14F-4D97-AF65-F5344CB8AC3E}">
        <p14:creationId xmlns:p14="http://schemas.microsoft.com/office/powerpoint/2010/main" val="35913747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- blue - pattern smal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7800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ABEB68DB-D429-470B-9F61-960355E206D9}"/>
              </a:ext>
            </a:extLst>
          </p:cNvPr>
          <p:cNvSpPr>
            <a:spLocks/>
          </p:cNvSpPr>
          <p:nvPr/>
        </p:nvSpPr>
        <p:spPr>
          <a:xfrm>
            <a:off x="9159250" y="0"/>
            <a:ext cx="303275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CAFB210-046F-423B-85DC-6A56724C18F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21A40FF4-C9CD-4F74-A138-76E09F6B268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5778"/>
          <a:stretch/>
        </p:blipFill>
        <p:spPr>
          <a:xfrm>
            <a:off x="9159250" y="0"/>
            <a:ext cx="3032750" cy="6858000"/>
          </a:xfrm>
          <a:prstGeom prst="rect">
            <a:avLst/>
          </a:prstGeom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9411C6F4-4A8E-4A90-9AF2-882241B4FFF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A299A646-A012-4D73-B366-C1973859EB84}" type="datetime4">
              <a:rPr lang="en-US" smtClean="0"/>
              <a:t>July 4, 2024</a:t>
            </a:fld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F3AF5274-F30F-418E-9F88-CB80224F334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92BB4E-53AC-4B52-8C82-C63DBA85DD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anchor="b">
            <a:spAutoFit/>
          </a:bodyPr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US"/>
              <a:t>CHAPTER SLID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098BC8E-53C6-4DB5-9B50-698F56E94C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line optional Inter Medium 16pt</a:t>
            </a:r>
          </a:p>
        </p:txBody>
      </p:sp>
    </p:spTree>
    <p:extLst>
      <p:ext uri="{BB962C8B-B14F-4D97-AF65-F5344CB8AC3E}">
        <p14:creationId xmlns:p14="http://schemas.microsoft.com/office/powerpoint/2010/main" val="27443002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- blue - pictu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2758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E60CFC4-9E30-4A3B-B662-BE9F6856742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620000" y="0"/>
            <a:ext cx="4572000" cy="6858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EBEDB8C-86A8-4C72-9617-3D972145DF7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AA6EF37-24BF-46BA-80EB-60ACDBE9C94B}" type="datetime4">
              <a:rPr lang="en-US" smtClean="0"/>
              <a:t>July 4, 2024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6B54211-391E-47DC-BF9F-7FA9EA133A2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9E94535-1C60-46E6-8C2F-C9828D82CE7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FCE8-D0F7-4D5F-9CDF-5EF68D204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anchor="b">
            <a:spAutoFit/>
          </a:bodyPr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US"/>
              <a:t>CHAPTER SLID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6864C45-E0B0-4D47-BD53-91CC103216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line optional Inter Medium 16pt</a:t>
            </a:r>
          </a:p>
        </p:txBody>
      </p:sp>
    </p:spTree>
    <p:extLst>
      <p:ext uri="{BB962C8B-B14F-4D97-AF65-F5344CB8AC3E}">
        <p14:creationId xmlns:p14="http://schemas.microsoft.com/office/powerpoint/2010/main" val="17152056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- blue - pattern &amp;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697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ABEB68DB-D429-470B-9F61-960355E206D9}"/>
              </a:ext>
            </a:extLst>
          </p:cNvPr>
          <p:cNvSpPr>
            <a:spLocks/>
          </p:cNvSpPr>
          <p:nvPr/>
        </p:nvSpPr>
        <p:spPr>
          <a:xfrm>
            <a:off x="9159250" y="0"/>
            <a:ext cx="303275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pic>
        <p:nvPicPr>
          <p:cNvPr id="6" name="Grafik 5" descr="Ein Bild, das drinnen, Spinnennetz, Outdoorobjekt enthält.&#10;&#10;Automatisch generierte Beschreibung">
            <a:extLst>
              <a:ext uri="{FF2B5EF4-FFF2-40B4-BE49-F238E27FC236}">
                <a16:creationId xmlns:a16="http://schemas.microsoft.com/office/drawing/2014/main" id="{07BDFB63-EE62-42C1-9F45-01837B8F7A2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698"/>
          <a:stretch/>
        </p:blipFill>
        <p:spPr>
          <a:xfrm flipH="1">
            <a:off x="9159250" y="3607536"/>
            <a:ext cx="3032750" cy="3250464"/>
          </a:xfrm>
          <a:prstGeom prst="rect">
            <a:avLst/>
          </a:prstGeom>
        </p:spPr>
      </p:pic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44B831F-6823-4954-95E7-DA34917246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59250" y="0"/>
            <a:ext cx="3032750" cy="3429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069C443F-9284-42C8-9C39-FD5694CBDF3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82F6C650-8955-4E61-9C95-B52712D8B208}" type="datetime4">
              <a:rPr lang="en-US" smtClean="0"/>
              <a:t>July 4, 2024</a:t>
            </a:fld>
            <a:endParaRPr lang="en-US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4FD5CCA-0946-4A9D-B3CE-4BA5DE75EEB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109A756-17C1-499C-93AB-102CFE29E94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798EE-1C7F-4231-8AAD-19CAD94B4C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anchor="b">
            <a:spAutoFit/>
          </a:bodyPr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US"/>
              <a:t>CHAPTER SLID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2DEBE81-7B6B-4ADF-B7DB-8AACC43BC4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line optional Inter Medium 16pt</a:t>
            </a:r>
          </a:p>
        </p:txBody>
      </p:sp>
    </p:spTree>
    <p:extLst>
      <p:ext uri="{BB962C8B-B14F-4D97-AF65-F5344CB8AC3E}">
        <p14:creationId xmlns:p14="http://schemas.microsoft.com/office/powerpoint/2010/main" val="29531588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- blue - arrow &amp;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2944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ABEB68DB-D429-470B-9F61-960355E206D9}"/>
              </a:ext>
            </a:extLst>
          </p:cNvPr>
          <p:cNvSpPr>
            <a:spLocks/>
          </p:cNvSpPr>
          <p:nvPr/>
        </p:nvSpPr>
        <p:spPr>
          <a:xfrm>
            <a:off x="9159250" y="0"/>
            <a:ext cx="303275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44B831F-6823-4954-95E7-DA34917246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59250" y="0"/>
            <a:ext cx="3032750" cy="3429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069C443F-9284-42C8-9C39-FD5694CBDF3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AFC927DE-F36A-440E-8C19-B56987848388}" type="datetime4">
              <a:rPr lang="en-US" smtClean="0"/>
              <a:t>July 4, 2024</a:t>
            </a:fld>
            <a:endParaRPr lang="en-US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4FD5CCA-0946-4A9D-B3CE-4BA5DE75EEB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109A756-17C1-499C-93AB-102CFE29E94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7" name="Freihandform: Form 46">
            <a:extLst>
              <a:ext uri="{FF2B5EF4-FFF2-40B4-BE49-F238E27FC236}">
                <a16:creationId xmlns:a16="http://schemas.microsoft.com/office/drawing/2014/main" id="{876B2284-802F-4040-A697-BADE2628B14A}"/>
              </a:ext>
            </a:extLst>
          </p:cNvPr>
          <p:cNvSpPr>
            <a:spLocks/>
          </p:cNvSpPr>
          <p:nvPr/>
        </p:nvSpPr>
        <p:spPr bwMode="gray">
          <a:xfrm>
            <a:off x="9794834" y="3970817"/>
            <a:ext cx="1759033" cy="2345367"/>
          </a:xfrm>
          <a:custGeom>
            <a:avLst/>
            <a:gdLst>
              <a:gd name="connsiteX0" fmla="*/ -1070 w 119009"/>
              <a:gd name="connsiteY0" fmla="*/ 95094 h 158678"/>
              <a:gd name="connsiteX1" fmla="*/ 16595 w 119009"/>
              <a:gd name="connsiteY1" fmla="*/ 95094 h 158678"/>
              <a:gd name="connsiteX2" fmla="*/ 36438 w 119009"/>
              <a:gd name="connsiteY2" fmla="*/ 55424 h 158678"/>
              <a:gd name="connsiteX3" fmla="*/ 18781 w 119009"/>
              <a:gd name="connsiteY3" fmla="*/ 55424 h 158678"/>
              <a:gd name="connsiteX4" fmla="*/ 70400 w 119009"/>
              <a:gd name="connsiteY4" fmla="*/ 0 h 158678"/>
              <a:gd name="connsiteX5" fmla="*/ 46485 w 119009"/>
              <a:gd name="connsiteY5" fmla="*/ 0 h 158678"/>
              <a:gd name="connsiteX6" fmla="*/ 30650 w 119009"/>
              <a:gd name="connsiteY6" fmla="*/ 31671 h 158678"/>
              <a:gd name="connsiteX7" fmla="*/ 48315 w 119009"/>
              <a:gd name="connsiteY7" fmla="*/ 31671 h 158678"/>
              <a:gd name="connsiteX8" fmla="*/ 58443 w 119009"/>
              <a:gd name="connsiteY8" fmla="*/ 11431 h 158678"/>
              <a:gd name="connsiteX9" fmla="*/ 100282 w 119009"/>
              <a:gd name="connsiteY9" fmla="*/ 95118 h 158678"/>
              <a:gd name="connsiteX10" fmla="*/ 117939 w 119009"/>
              <a:gd name="connsiteY10" fmla="*/ 95118 h 158678"/>
              <a:gd name="connsiteX11" fmla="*/ 50493 w 119009"/>
              <a:gd name="connsiteY11" fmla="*/ 63221 h 158678"/>
              <a:gd name="connsiteX12" fmla="*/ 66393 w 119009"/>
              <a:gd name="connsiteY12" fmla="*/ 63221 h 158678"/>
              <a:gd name="connsiteX13" fmla="*/ 66393 w 119009"/>
              <a:gd name="connsiteY13" fmla="*/ 158679 h 158678"/>
              <a:gd name="connsiteX14" fmla="*/ 50493 w 119009"/>
              <a:gd name="connsiteY14" fmla="*/ 158679 h 158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9009" h="158678">
                <a:moveTo>
                  <a:pt x="-1070" y="95094"/>
                </a:moveTo>
                <a:lnTo>
                  <a:pt x="16595" y="95094"/>
                </a:lnTo>
                <a:lnTo>
                  <a:pt x="36438" y="55424"/>
                </a:lnTo>
                <a:lnTo>
                  <a:pt x="18781" y="55424"/>
                </a:lnTo>
                <a:close/>
                <a:moveTo>
                  <a:pt x="70400" y="0"/>
                </a:moveTo>
                <a:lnTo>
                  <a:pt x="46485" y="0"/>
                </a:lnTo>
                <a:lnTo>
                  <a:pt x="30650" y="31671"/>
                </a:lnTo>
                <a:lnTo>
                  <a:pt x="48315" y="31671"/>
                </a:lnTo>
                <a:lnTo>
                  <a:pt x="58443" y="11431"/>
                </a:lnTo>
                <a:lnTo>
                  <a:pt x="100282" y="95118"/>
                </a:lnTo>
                <a:lnTo>
                  <a:pt x="117939" y="95118"/>
                </a:lnTo>
                <a:close/>
                <a:moveTo>
                  <a:pt x="50493" y="63221"/>
                </a:moveTo>
                <a:lnTo>
                  <a:pt x="66393" y="63221"/>
                </a:lnTo>
                <a:lnTo>
                  <a:pt x="66393" y="158679"/>
                </a:lnTo>
                <a:lnTo>
                  <a:pt x="50493" y="158679"/>
                </a:lnTo>
                <a:close/>
              </a:path>
            </a:pathLst>
          </a:custGeom>
          <a:gradFill>
            <a:gsLst>
              <a:gs pos="1000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 rtl="0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1D1A5D-2283-410B-9E37-E96675064F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anchor="b">
            <a:spAutoFit/>
          </a:bodyPr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US"/>
              <a:t>CHAPTER SLID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E97865-F960-4F8F-96C4-D08D25C9DAF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line optional Inter Medium 16pt</a:t>
            </a:r>
          </a:p>
        </p:txBody>
      </p:sp>
    </p:spTree>
    <p:extLst>
      <p:ext uri="{BB962C8B-B14F-4D97-AF65-F5344CB8AC3E}">
        <p14:creationId xmlns:p14="http://schemas.microsoft.com/office/powerpoint/2010/main" val="20297902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- white - pattern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8771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ABEB68DB-D429-470B-9F61-960355E206D9}"/>
              </a:ext>
            </a:extLst>
          </p:cNvPr>
          <p:cNvSpPr>
            <a:spLocks/>
          </p:cNvSpPr>
          <p:nvPr/>
        </p:nvSpPr>
        <p:spPr>
          <a:xfrm>
            <a:off x="9159250" y="0"/>
            <a:ext cx="303275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/>
        </p:nvGrpSpPr>
        <p:grpSpPr>
          <a:xfrm>
            <a:off x="269875" y="6525716"/>
            <a:ext cx="485623" cy="147421"/>
            <a:chOff x="269875" y="6525716"/>
            <a:chExt cx="485623" cy="147421"/>
          </a:xfrm>
          <a:solidFill>
            <a:schemeClr val="accent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44B831F-6823-4954-95E7-DA34917246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59250" y="0"/>
            <a:ext cx="3032750" cy="3429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4FD5CCA-0946-4A9D-B3CE-4BA5DE75EEB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pic>
        <p:nvPicPr>
          <p:cNvPr id="14" name="Grafik 13" descr="Ein Bild, das drinnen, Spinnennetz, Outdoorobjekt enthält.&#10;&#10;Automatisch generierte Beschreibung">
            <a:extLst>
              <a:ext uri="{FF2B5EF4-FFF2-40B4-BE49-F238E27FC236}">
                <a16:creationId xmlns:a16="http://schemas.microsoft.com/office/drawing/2014/main" id="{65540075-B01C-45B5-BBB4-25141308C9F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698"/>
          <a:stretch/>
        </p:blipFill>
        <p:spPr>
          <a:xfrm flipH="1">
            <a:off x="9159250" y="3607536"/>
            <a:ext cx="3032750" cy="3250464"/>
          </a:xfrm>
          <a:prstGeom prst="rect">
            <a:avLst/>
          </a:prstGeom>
        </p:spPr>
      </p:pic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069C443F-9284-42C8-9C39-FD5694CBDF3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39FA27E-A12F-4868-BD19-5B04BA6205C8}" type="datetime4">
              <a:rPr lang="en-US" smtClean="0"/>
              <a:t>July 4, 2024</a:t>
            </a:fld>
            <a:endParaRPr lang="en-US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109A756-17C1-499C-93AB-102CFE29E94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14303F9-48AE-4CC9-94B8-F7953FA25D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anchor="b">
            <a:spAutoFit/>
          </a:bodyPr>
          <a:lstStyle>
            <a:lvl1pPr rtl="0">
              <a:lnSpc>
                <a:spcPct val="85000"/>
              </a:lnSpc>
              <a:defRPr sz="4800" b="0"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US"/>
              <a:t>CHAPTER SLID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C336E8B-B380-4F55-B3FD-A8003FCD02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16pt</a:t>
            </a:r>
          </a:p>
        </p:txBody>
      </p:sp>
    </p:spTree>
    <p:extLst>
      <p:ext uri="{BB962C8B-B14F-4D97-AF65-F5344CB8AC3E}">
        <p14:creationId xmlns:p14="http://schemas.microsoft.com/office/powerpoint/2010/main" val="34048921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- blue - arr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1146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92F8E679-E260-49EB-A3CA-F368C0674365}"/>
              </a:ext>
            </a:extLst>
          </p:cNvPr>
          <p:cNvGrpSpPr/>
          <p:nvPr/>
        </p:nvGrpSpPr>
        <p:grpSpPr>
          <a:xfrm>
            <a:off x="270000" y="270000"/>
            <a:ext cx="1346400" cy="244836"/>
            <a:chOff x="270000" y="270000"/>
            <a:chExt cx="1346400" cy="244836"/>
          </a:xfrm>
        </p:grpSpPr>
        <p:sp>
          <p:nvSpPr>
            <p:cNvPr id="86" name="Freihandform 42">
              <a:extLst>
                <a:ext uri="{FF2B5EF4-FFF2-40B4-BE49-F238E27FC236}">
                  <a16:creationId xmlns:a16="http://schemas.microsoft.com/office/drawing/2014/main" id="{C78A4FAC-CC44-4149-A771-0D69677F7ECA}"/>
                </a:ext>
              </a:extLst>
            </p:cNvPr>
            <p:cNvSpPr/>
            <p:nvPr/>
          </p:nvSpPr>
          <p:spPr bwMode="invGray">
            <a:xfrm>
              <a:off x="846965" y="272507"/>
              <a:ext cx="222709" cy="241364"/>
            </a:xfrm>
            <a:custGeom>
              <a:avLst/>
              <a:gdLst>
                <a:gd name="connsiteX0" fmla="*/ 462697 w 1018566"/>
                <a:gd name="connsiteY0" fmla="*/ 0 h 1103885"/>
                <a:gd name="connsiteX1" fmla="*/ 185079 w 1018566"/>
                <a:gd name="connsiteY1" fmla="*/ 0 h 1103885"/>
                <a:gd name="connsiteX2" fmla="*/ 0 w 1018566"/>
                <a:gd name="connsiteY2" fmla="*/ 368046 h 1103885"/>
                <a:gd name="connsiteX3" fmla="*/ 205995 w 1018566"/>
                <a:gd name="connsiteY3" fmla="*/ 368046 h 1103885"/>
                <a:gd name="connsiteX4" fmla="*/ 324648 w 1018566"/>
                <a:gd name="connsiteY4" fmla="*/ 132300 h 1103885"/>
                <a:gd name="connsiteX5" fmla="*/ 812698 w 1018566"/>
                <a:gd name="connsiteY5" fmla="*/ 1103886 h 1103885"/>
                <a:gd name="connsiteX6" fmla="*/ 1018566 w 1018566"/>
                <a:gd name="connsiteY6" fmla="*/ 1103886 h 1103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8566" h="1103885">
                  <a:moveTo>
                    <a:pt x="462697" y="0"/>
                  </a:moveTo>
                  <a:lnTo>
                    <a:pt x="185079" y="0"/>
                  </a:lnTo>
                  <a:lnTo>
                    <a:pt x="0" y="368046"/>
                  </a:lnTo>
                  <a:lnTo>
                    <a:pt x="205995" y="368046"/>
                  </a:lnTo>
                  <a:lnTo>
                    <a:pt x="324648" y="132300"/>
                  </a:lnTo>
                  <a:lnTo>
                    <a:pt x="812698" y="1103886"/>
                  </a:lnTo>
                  <a:lnTo>
                    <a:pt x="1018566" y="1103886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7" name="Freihandform 43">
              <a:extLst>
                <a:ext uri="{FF2B5EF4-FFF2-40B4-BE49-F238E27FC236}">
                  <a16:creationId xmlns:a16="http://schemas.microsoft.com/office/drawing/2014/main" id="{DE7A47C8-1A17-47CB-B506-734C6F33ACE4}"/>
                </a:ext>
              </a:extLst>
            </p:cNvPr>
            <p:cNvSpPr/>
            <p:nvPr/>
          </p:nvSpPr>
          <p:spPr bwMode="invGray">
            <a:xfrm>
              <a:off x="270000" y="272479"/>
              <a:ext cx="678133" cy="241392"/>
            </a:xfrm>
            <a:custGeom>
              <a:avLst/>
              <a:gdLst>
                <a:gd name="connsiteX0" fmla="*/ 3008922 w 3101461"/>
                <a:gd name="connsiteY0" fmla="*/ 460152 h 1104011"/>
                <a:gd name="connsiteX1" fmla="*/ 602646 w 3101461"/>
                <a:gd name="connsiteY1" fmla="*/ 460152 h 1104011"/>
                <a:gd name="connsiteX2" fmla="*/ 510107 w 3101461"/>
                <a:gd name="connsiteY2" fmla="*/ 644112 h 1104011"/>
                <a:gd name="connsiteX3" fmla="*/ 880264 w 3101461"/>
                <a:gd name="connsiteY3" fmla="*/ 644112 h 1104011"/>
                <a:gd name="connsiteX4" fmla="*/ 880264 w 3101461"/>
                <a:gd name="connsiteY4" fmla="*/ 920052 h 1104011"/>
                <a:gd name="connsiteX5" fmla="*/ 552193 w 3101461"/>
                <a:gd name="connsiteY5" fmla="*/ 920052 h 1104011"/>
                <a:gd name="connsiteX6" fmla="*/ 184191 w 3101461"/>
                <a:gd name="connsiteY6" fmla="*/ 552258 h 1104011"/>
                <a:gd name="connsiteX7" fmla="*/ 552193 w 3101461"/>
                <a:gd name="connsiteY7" fmla="*/ 184086 h 1104011"/>
                <a:gd name="connsiteX8" fmla="*/ 972550 w 3101461"/>
                <a:gd name="connsiteY8" fmla="*/ 184086 h 1104011"/>
                <a:gd name="connsiteX9" fmla="*/ 972550 w 3101461"/>
                <a:gd name="connsiteY9" fmla="*/ 0 h 1104011"/>
                <a:gd name="connsiteX10" fmla="*/ 552193 w 3101461"/>
                <a:gd name="connsiteY10" fmla="*/ 0 h 1104011"/>
                <a:gd name="connsiteX11" fmla="*/ 0 w 3101461"/>
                <a:gd name="connsiteY11" fmla="*/ 552258 h 1104011"/>
                <a:gd name="connsiteX12" fmla="*/ 552193 w 3101461"/>
                <a:gd name="connsiteY12" fmla="*/ 1104012 h 1104011"/>
                <a:gd name="connsiteX13" fmla="*/ 1065470 w 3101461"/>
                <a:gd name="connsiteY13" fmla="*/ 1104012 h 1104011"/>
                <a:gd name="connsiteX14" fmla="*/ 1065470 w 3101461"/>
                <a:gd name="connsiteY14" fmla="*/ 644112 h 1104011"/>
                <a:gd name="connsiteX15" fmla="*/ 1343088 w 3101461"/>
                <a:gd name="connsiteY15" fmla="*/ 644112 h 1104011"/>
                <a:gd name="connsiteX16" fmla="*/ 1343088 w 3101461"/>
                <a:gd name="connsiteY16" fmla="*/ 1104012 h 1104011"/>
                <a:gd name="connsiteX17" fmla="*/ 2083529 w 3101461"/>
                <a:gd name="connsiteY17" fmla="*/ 1104012 h 1104011"/>
                <a:gd name="connsiteX18" fmla="*/ 2176068 w 3101461"/>
                <a:gd name="connsiteY18" fmla="*/ 920052 h 1104011"/>
                <a:gd name="connsiteX19" fmla="*/ 1528166 w 3101461"/>
                <a:gd name="connsiteY19" fmla="*/ 920052 h 1104011"/>
                <a:gd name="connsiteX20" fmla="*/ 1528166 w 3101461"/>
                <a:gd name="connsiteY20" fmla="*/ 644112 h 1104011"/>
                <a:gd name="connsiteX21" fmla="*/ 2498815 w 3101461"/>
                <a:gd name="connsiteY21" fmla="*/ 644112 h 1104011"/>
                <a:gd name="connsiteX22" fmla="*/ 2268608 w 3101461"/>
                <a:gd name="connsiteY22" fmla="*/ 1104012 h 1104011"/>
                <a:gd name="connsiteX23" fmla="*/ 2474476 w 3101461"/>
                <a:gd name="connsiteY23" fmla="*/ 1104012 h 1104011"/>
                <a:gd name="connsiteX24" fmla="*/ 2705824 w 3101461"/>
                <a:gd name="connsiteY24" fmla="*/ 644112 h 1104011"/>
                <a:gd name="connsiteX25" fmla="*/ 3101461 w 3101461"/>
                <a:gd name="connsiteY25" fmla="*/ 644112 h 1104011"/>
                <a:gd name="connsiteX26" fmla="*/ 3008922 w 3101461"/>
                <a:gd name="connsiteY26" fmla="*/ 460152 h 110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01461" h="1104011">
                  <a:moveTo>
                    <a:pt x="3008922" y="460152"/>
                  </a:moveTo>
                  <a:lnTo>
                    <a:pt x="602646" y="460152"/>
                  </a:lnTo>
                  <a:lnTo>
                    <a:pt x="510107" y="644112"/>
                  </a:lnTo>
                  <a:lnTo>
                    <a:pt x="880264" y="644112"/>
                  </a:lnTo>
                  <a:lnTo>
                    <a:pt x="880264" y="920052"/>
                  </a:lnTo>
                  <a:lnTo>
                    <a:pt x="552193" y="920052"/>
                  </a:lnTo>
                  <a:cubicBezTo>
                    <a:pt x="349368" y="920052"/>
                    <a:pt x="184191" y="755748"/>
                    <a:pt x="184191" y="552258"/>
                  </a:cubicBezTo>
                  <a:cubicBezTo>
                    <a:pt x="184191" y="348768"/>
                    <a:pt x="349241" y="184086"/>
                    <a:pt x="552193" y="184086"/>
                  </a:cubicBezTo>
                  <a:lnTo>
                    <a:pt x="972550" y="184086"/>
                  </a:lnTo>
                  <a:lnTo>
                    <a:pt x="972550" y="0"/>
                  </a:lnTo>
                  <a:lnTo>
                    <a:pt x="552193" y="0"/>
                  </a:lnTo>
                  <a:cubicBezTo>
                    <a:pt x="247701" y="0"/>
                    <a:pt x="0" y="247716"/>
                    <a:pt x="0" y="552258"/>
                  </a:cubicBezTo>
                  <a:cubicBezTo>
                    <a:pt x="0" y="856800"/>
                    <a:pt x="247701" y="1104012"/>
                    <a:pt x="552193" y="1104012"/>
                  </a:cubicBezTo>
                  <a:lnTo>
                    <a:pt x="1065470" y="1104012"/>
                  </a:lnTo>
                  <a:lnTo>
                    <a:pt x="1065470" y="644112"/>
                  </a:lnTo>
                  <a:lnTo>
                    <a:pt x="1343088" y="644112"/>
                  </a:lnTo>
                  <a:lnTo>
                    <a:pt x="1343088" y="1104012"/>
                  </a:lnTo>
                  <a:lnTo>
                    <a:pt x="2083529" y="1104012"/>
                  </a:lnTo>
                  <a:lnTo>
                    <a:pt x="2176068" y="920052"/>
                  </a:lnTo>
                  <a:lnTo>
                    <a:pt x="1528166" y="920052"/>
                  </a:lnTo>
                  <a:lnTo>
                    <a:pt x="1528166" y="644112"/>
                  </a:lnTo>
                  <a:lnTo>
                    <a:pt x="2498815" y="644112"/>
                  </a:lnTo>
                  <a:lnTo>
                    <a:pt x="2268608" y="1104012"/>
                  </a:lnTo>
                  <a:lnTo>
                    <a:pt x="2474476" y="1104012"/>
                  </a:lnTo>
                  <a:lnTo>
                    <a:pt x="2705824" y="644112"/>
                  </a:lnTo>
                  <a:lnTo>
                    <a:pt x="3101461" y="644112"/>
                  </a:lnTo>
                  <a:lnTo>
                    <a:pt x="3008922" y="46015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8" name="Freihandform 46">
              <a:extLst>
                <a:ext uri="{FF2B5EF4-FFF2-40B4-BE49-F238E27FC236}">
                  <a16:creationId xmlns:a16="http://schemas.microsoft.com/office/drawing/2014/main" id="{F6980514-C5C3-4070-9D53-3F4B40A250FD}"/>
                </a:ext>
              </a:extLst>
            </p:cNvPr>
            <p:cNvSpPr/>
            <p:nvPr/>
          </p:nvSpPr>
          <p:spPr bwMode="invGray">
            <a:xfrm>
              <a:off x="563638" y="272479"/>
              <a:ext cx="182159" cy="80501"/>
            </a:xfrm>
            <a:custGeom>
              <a:avLst/>
              <a:gdLst>
                <a:gd name="connsiteX0" fmla="*/ 185205 w 833107"/>
                <a:gd name="connsiteY0" fmla="*/ 184086 h 368172"/>
                <a:gd name="connsiteX1" fmla="*/ 833107 w 833107"/>
                <a:gd name="connsiteY1" fmla="*/ 184212 h 368172"/>
                <a:gd name="connsiteX2" fmla="*/ 833107 w 833107"/>
                <a:gd name="connsiteY2" fmla="*/ 126 h 368172"/>
                <a:gd name="connsiteX3" fmla="*/ 0 w 833107"/>
                <a:gd name="connsiteY3" fmla="*/ 0 h 368172"/>
                <a:gd name="connsiteX4" fmla="*/ 0 w 833107"/>
                <a:gd name="connsiteY4" fmla="*/ 368172 h 368172"/>
                <a:gd name="connsiteX5" fmla="*/ 185205 w 833107"/>
                <a:gd name="connsiteY5" fmla="*/ 368172 h 36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3107" h="368172">
                  <a:moveTo>
                    <a:pt x="185205" y="184086"/>
                  </a:moveTo>
                  <a:lnTo>
                    <a:pt x="833107" y="184212"/>
                  </a:lnTo>
                  <a:lnTo>
                    <a:pt x="833107" y="126"/>
                  </a:lnTo>
                  <a:lnTo>
                    <a:pt x="0" y="0"/>
                  </a:lnTo>
                  <a:lnTo>
                    <a:pt x="0" y="368172"/>
                  </a:lnTo>
                  <a:lnTo>
                    <a:pt x="185205" y="36817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7" name="Freihandform 13">
              <a:extLst>
                <a:ext uri="{FF2B5EF4-FFF2-40B4-BE49-F238E27FC236}">
                  <a16:creationId xmlns:a16="http://schemas.microsoft.com/office/drawing/2014/main" id="{5F79A0FA-6215-4C9E-88D3-6859B5F32E15}"/>
                </a:ext>
              </a:extLst>
            </p:cNvPr>
            <p:cNvSpPr/>
            <p:nvPr/>
          </p:nvSpPr>
          <p:spPr bwMode="invGray">
            <a:xfrm>
              <a:off x="1130320" y="272535"/>
              <a:ext cx="40440" cy="63502"/>
            </a:xfrm>
            <a:custGeom>
              <a:avLst/>
              <a:gdLst>
                <a:gd name="connsiteX0" fmla="*/ 184952 w 184951"/>
                <a:gd name="connsiteY0" fmla="*/ 252630 h 290429"/>
                <a:gd name="connsiteX1" fmla="*/ 44114 w 184951"/>
                <a:gd name="connsiteY1" fmla="*/ 252630 h 290429"/>
                <a:gd name="connsiteX2" fmla="*/ 44114 w 184951"/>
                <a:gd name="connsiteY2" fmla="*/ 163800 h 290429"/>
                <a:gd name="connsiteX3" fmla="*/ 173669 w 184951"/>
                <a:gd name="connsiteY3" fmla="*/ 163800 h 290429"/>
                <a:gd name="connsiteX4" fmla="*/ 173669 w 184951"/>
                <a:gd name="connsiteY4" fmla="*/ 126252 h 290429"/>
                <a:gd name="connsiteX5" fmla="*/ 44114 w 184951"/>
                <a:gd name="connsiteY5" fmla="*/ 126252 h 290429"/>
                <a:gd name="connsiteX6" fmla="*/ 44114 w 184951"/>
                <a:gd name="connsiteY6" fmla="*/ 37800 h 290429"/>
                <a:gd name="connsiteX7" fmla="*/ 183177 w 184951"/>
                <a:gd name="connsiteY7" fmla="*/ 37800 h 290429"/>
                <a:gd name="connsiteX8" fmla="*/ 183177 w 184951"/>
                <a:gd name="connsiteY8" fmla="*/ 0 h 290429"/>
                <a:gd name="connsiteX9" fmla="*/ 0 w 184951"/>
                <a:gd name="connsiteY9" fmla="*/ 0 h 290429"/>
                <a:gd name="connsiteX10" fmla="*/ 0 w 184951"/>
                <a:gd name="connsiteY10" fmla="*/ 290430 h 290429"/>
                <a:gd name="connsiteX11" fmla="*/ 184952 w 184951"/>
                <a:gd name="connsiteY11" fmla="*/ 290430 h 290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4951" h="290429">
                  <a:moveTo>
                    <a:pt x="184952" y="252630"/>
                  </a:moveTo>
                  <a:lnTo>
                    <a:pt x="44114" y="252630"/>
                  </a:lnTo>
                  <a:lnTo>
                    <a:pt x="44114" y="163800"/>
                  </a:lnTo>
                  <a:lnTo>
                    <a:pt x="173669" y="163800"/>
                  </a:lnTo>
                  <a:lnTo>
                    <a:pt x="173669" y="126252"/>
                  </a:lnTo>
                  <a:lnTo>
                    <a:pt x="44114" y="126252"/>
                  </a:lnTo>
                  <a:lnTo>
                    <a:pt x="44114" y="37800"/>
                  </a:lnTo>
                  <a:lnTo>
                    <a:pt x="183177" y="37800"/>
                  </a:lnTo>
                  <a:lnTo>
                    <a:pt x="183177" y="0"/>
                  </a:lnTo>
                  <a:lnTo>
                    <a:pt x="0" y="0"/>
                  </a:lnTo>
                  <a:lnTo>
                    <a:pt x="0" y="290430"/>
                  </a:lnTo>
                  <a:lnTo>
                    <a:pt x="184952" y="29043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8" name="Freihandform 14">
              <a:extLst>
                <a:ext uri="{FF2B5EF4-FFF2-40B4-BE49-F238E27FC236}">
                  <a16:creationId xmlns:a16="http://schemas.microsoft.com/office/drawing/2014/main" id="{E57EC58B-2D5D-4877-9B03-E31621E4FFDE}"/>
                </a:ext>
              </a:extLst>
            </p:cNvPr>
            <p:cNvSpPr/>
            <p:nvPr/>
          </p:nvSpPr>
          <p:spPr bwMode="invGray">
            <a:xfrm>
              <a:off x="1182623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665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4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9" name="Freihandform 15">
              <a:extLst>
                <a:ext uri="{FF2B5EF4-FFF2-40B4-BE49-F238E27FC236}">
                  <a16:creationId xmlns:a16="http://schemas.microsoft.com/office/drawing/2014/main" id="{3B593BEE-0095-4972-88AF-BE89E168AFD9}"/>
                </a:ext>
              </a:extLst>
            </p:cNvPr>
            <p:cNvSpPr/>
            <p:nvPr/>
          </p:nvSpPr>
          <p:spPr bwMode="invGray">
            <a:xfrm>
              <a:off x="1232902" y="287797"/>
              <a:ext cx="43821" cy="66974"/>
            </a:xfrm>
            <a:custGeom>
              <a:avLst/>
              <a:gdLst>
                <a:gd name="connsiteX0" fmla="*/ 151739 w 200417"/>
                <a:gd name="connsiteY0" fmla="*/ 297738 h 306306"/>
                <a:gd name="connsiteX1" fmla="*/ 187234 w 200417"/>
                <a:gd name="connsiteY1" fmla="*/ 271152 h 306306"/>
                <a:gd name="connsiteX2" fmla="*/ 200417 w 200417"/>
                <a:gd name="connsiteY2" fmla="*/ 225414 h 306306"/>
                <a:gd name="connsiteX3" fmla="*/ 200417 w 200417"/>
                <a:gd name="connsiteY3" fmla="*/ 2772 h 306306"/>
                <a:gd name="connsiteX4" fmla="*/ 158585 w 200417"/>
                <a:gd name="connsiteY4" fmla="*/ 2772 h 306306"/>
                <a:gd name="connsiteX5" fmla="*/ 158585 w 200417"/>
                <a:gd name="connsiteY5" fmla="*/ 38052 h 306306"/>
                <a:gd name="connsiteX6" fmla="*/ 155415 w 200417"/>
                <a:gd name="connsiteY6" fmla="*/ 38052 h 306306"/>
                <a:gd name="connsiteX7" fmla="*/ 144513 w 200417"/>
                <a:gd name="connsiteY7" fmla="*/ 22302 h 306306"/>
                <a:gd name="connsiteX8" fmla="*/ 124865 w 200417"/>
                <a:gd name="connsiteY8" fmla="*/ 6678 h 306306"/>
                <a:gd name="connsiteX9" fmla="*/ 91905 w 200417"/>
                <a:gd name="connsiteY9" fmla="*/ 0 h 306306"/>
                <a:gd name="connsiteX10" fmla="*/ 44622 w 200417"/>
                <a:gd name="connsiteY10" fmla="*/ 13230 h 306306"/>
                <a:gd name="connsiteX11" fmla="*/ 11916 w 200417"/>
                <a:gd name="connsiteY11" fmla="*/ 51282 h 306306"/>
                <a:gd name="connsiteX12" fmla="*/ 0 w 200417"/>
                <a:gd name="connsiteY12" fmla="*/ 110880 h 306306"/>
                <a:gd name="connsiteX13" fmla="*/ 12043 w 200417"/>
                <a:gd name="connsiteY13" fmla="*/ 169344 h 306306"/>
                <a:gd name="connsiteX14" fmla="*/ 44875 w 200417"/>
                <a:gd name="connsiteY14" fmla="*/ 205254 h 306306"/>
                <a:gd name="connsiteX15" fmla="*/ 91525 w 200417"/>
                <a:gd name="connsiteY15" fmla="*/ 217350 h 306306"/>
                <a:gd name="connsiteX16" fmla="*/ 124231 w 200417"/>
                <a:gd name="connsiteY16" fmla="*/ 211050 h 306306"/>
                <a:gd name="connsiteX17" fmla="*/ 144007 w 200417"/>
                <a:gd name="connsiteY17" fmla="*/ 196308 h 306306"/>
                <a:gd name="connsiteX18" fmla="*/ 155035 w 200417"/>
                <a:gd name="connsiteY18" fmla="*/ 180810 h 306306"/>
                <a:gd name="connsiteX19" fmla="*/ 157697 w 200417"/>
                <a:gd name="connsiteY19" fmla="*/ 180810 h 306306"/>
                <a:gd name="connsiteX20" fmla="*/ 157697 w 200417"/>
                <a:gd name="connsiteY20" fmla="*/ 223650 h 306306"/>
                <a:gd name="connsiteX21" fmla="*/ 141851 w 200417"/>
                <a:gd name="connsiteY21" fmla="*/ 260568 h 306306"/>
                <a:gd name="connsiteX22" fmla="*/ 101793 w 200417"/>
                <a:gd name="connsiteY22" fmla="*/ 272160 h 306306"/>
                <a:gd name="connsiteX23" fmla="*/ 72891 w 200417"/>
                <a:gd name="connsiteY23" fmla="*/ 267246 h 306306"/>
                <a:gd name="connsiteX24" fmla="*/ 55270 w 200417"/>
                <a:gd name="connsiteY24" fmla="*/ 255276 h 306306"/>
                <a:gd name="connsiteX25" fmla="*/ 44875 w 200417"/>
                <a:gd name="connsiteY25" fmla="*/ 242424 h 306306"/>
                <a:gd name="connsiteX26" fmla="*/ 8240 w 200417"/>
                <a:gd name="connsiteY26" fmla="*/ 257418 h 306306"/>
                <a:gd name="connsiteX27" fmla="*/ 25860 w 200417"/>
                <a:gd name="connsiteY27" fmla="*/ 281610 h 306306"/>
                <a:gd name="connsiteX28" fmla="*/ 56411 w 200417"/>
                <a:gd name="connsiteY28" fmla="*/ 299502 h 306306"/>
                <a:gd name="connsiteX29" fmla="*/ 101286 w 200417"/>
                <a:gd name="connsiteY29" fmla="*/ 306306 h 306306"/>
                <a:gd name="connsiteX30" fmla="*/ 151739 w 200417"/>
                <a:gd name="connsiteY30" fmla="*/ 297738 h 306306"/>
                <a:gd name="connsiteX31" fmla="*/ 151612 w 200417"/>
                <a:gd name="connsiteY31" fmla="*/ 148932 h 306306"/>
                <a:gd name="connsiteX32" fmla="*/ 132217 w 200417"/>
                <a:gd name="connsiteY32" fmla="*/ 173628 h 306306"/>
                <a:gd name="connsiteX33" fmla="*/ 101033 w 200417"/>
                <a:gd name="connsiteY33" fmla="*/ 182196 h 306306"/>
                <a:gd name="connsiteX34" fmla="*/ 69214 w 200417"/>
                <a:gd name="connsiteY34" fmla="*/ 173124 h 306306"/>
                <a:gd name="connsiteX35" fmla="*/ 49819 w 200417"/>
                <a:gd name="connsiteY35" fmla="*/ 147924 h 306306"/>
                <a:gd name="connsiteX36" fmla="*/ 43227 w 200417"/>
                <a:gd name="connsiteY36" fmla="*/ 110376 h 306306"/>
                <a:gd name="connsiteX37" fmla="*/ 49693 w 200417"/>
                <a:gd name="connsiteY37" fmla="*/ 72702 h 306306"/>
                <a:gd name="connsiteX38" fmla="*/ 68961 w 200417"/>
                <a:gd name="connsiteY38" fmla="*/ 45990 h 306306"/>
                <a:gd name="connsiteX39" fmla="*/ 101033 w 200417"/>
                <a:gd name="connsiteY39" fmla="*/ 36162 h 306306"/>
                <a:gd name="connsiteX40" fmla="*/ 132471 w 200417"/>
                <a:gd name="connsiteY40" fmla="*/ 45612 h 306306"/>
                <a:gd name="connsiteX41" fmla="*/ 151739 w 200417"/>
                <a:gd name="connsiteY41" fmla="*/ 71820 h 306306"/>
                <a:gd name="connsiteX42" fmla="*/ 158331 w 200417"/>
                <a:gd name="connsiteY42" fmla="*/ 110502 h 306306"/>
                <a:gd name="connsiteX43" fmla="*/ 151612 w 200417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417" h="306306">
                  <a:moveTo>
                    <a:pt x="151739" y="297738"/>
                  </a:moveTo>
                  <a:cubicBezTo>
                    <a:pt x="166571" y="291942"/>
                    <a:pt x="178487" y="283122"/>
                    <a:pt x="187234" y="271152"/>
                  </a:cubicBezTo>
                  <a:cubicBezTo>
                    <a:pt x="195980" y="259182"/>
                    <a:pt x="200417" y="243936"/>
                    <a:pt x="200417" y="225414"/>
                  </a:cubicBezTo>
                  <a:lnTo>
                    <a:pt x="200417" y="2772"/>
                  </a:lnTo>
                  <a:lnTo>
                    <a:pt x="158585" y="2772"/>
                  </a:ln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7" y="196308"/>
                  </a:cubicBezTo>
                  <a:cubicBezTo>
                    <a:pt x="148824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3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20048" y="306306"/>
                    <a:pt x="136781" y="303534"/>
                    <a:pt x="151739" y="297738"/>
                  </a:cubicBezTo>
                  <a:close/>
                  <a:moveTo>
                    <a:pt x="151612" y="148932"/>
                  </a:moveTo>
                  <a:cubicBezTo>
                    <a:pt x="147176" y="159642"/>
                    <a:pt x="140711" y="167832"/>
                    <a:pt x="132217" y="173628"/>
                  </a:cubicBezTo>
                  <a:cubicBezTo>
                    <a:pt x="123724" y="179298"/>
                    <a:pt x="113329" y="182196"/>
                    <a:pt x="101033" y="182196"/>
                  </a:cubicBezTo>
                  <a:cubicBezTo>
                    <a:pt x="88356" y="182196"/>
                    <a:pt x="77708" y="179172"/>
                    <a:pt x="69214" y="173124"/>
                  </a:cubicBezTo>
                  <a:cubicBezTo>
                    <a:pt x="60594" y="167076"/>
                    <a:pt x="54129" y="158634"/>
                    <a:pt x="49819" y="147924"/>
                  </a:cubicBezTo>
                  <a:cubicBezTo>
                    <a:pt x="45383" y="137088"/>
                    <a:pt x="43227" y="124614"/>
                    <a:pt x="43227" y="110376"/>
                  </a:cubicBezTo>
                  <a:cubicBezTo>
                    <a:pt x="43227" y="96516"/>
                    <a:pt x="45383" y="83916"/>
                    <a:pt x="49693" y="72702"/>
                  </a:cubicBezTo>
                  <a:cubicBezTo>
                    <a:pt x="54003" y="61488"/>
                    <a:pt x="60468" y="52542"/>
                    <a:pt x="68961" y="45990"/>
                  </a:cubicBezTo>
                  <a:cubicBezTo>
                    <a:pt x="77454" y="39438"/>
                    <a:pt x="88229" y="36162"/>
                    <a:pt x="101033" y="36162"/>
                  </a:cubicBezTo>
                  <a:cubicBezTo>
                    <a:pt x="113456" y="36162"/>
                    <a:pt x="123977" y="39312"/>
                    <a:pt x="132471" y="45612"/>
                  </a:cubicBezTo>
                  <a:cubicBezTo>
                    <a:pt x="140964" y="51912"/>
                    <a:pt x="147302" y="60606"/>
                    <a:pt x="151739" y="71820"/>
                  </a:cubicBezTo>
                  <a:cubicBezTo>
                    <a:pt x="156049" y="83034"/>
                    <a:pt x="158331" y="95886"/>
                    <a:pt x="158331" y="110502"/>
                  </a:cubicBezTo>
                  <a:cubicBezTo>
                    <a:pt x="158204" y="125370"/>
                    <a:pt x="156049" y="138222"/>
                    <a:pt x="151612" y="14893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0" name="Freihandform 16">
              <a:extLst>
                <a:ext uri="{FF2B5EF4-FFF2-40B4-BE49-F238E27FC236}">
                  <a16:creationId xmlns:a16="http://schemas.microsoft.com/office/drawing/2014/main" id="{61DB7D41-1F3C-4577-8DF3-381E205FC7E3}"/>
                </a:ext>
              </a:extLst>
            </p:cNvPr>
            <p:cNvSpPr/>
            <p:nvPr/>
          </p:nvSpPr>
          <p:spPr bwMode="invGray">
            <a:xfrm>
              <a:off x="1288032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3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057" y="48132"/>
                    <a:pt x="19522" y="50652"/>
                    <a:pt x="26874" y="506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1" name="Freihandform 17">
              <a:extLst>
                <a:ext uri="{FF2B5EF4-FFF2-40B4-BE49-F238E27FC236}">
                  <a16:creationId xmlns:a16="http://schemas.microsoft.com/office/drawing/2014/main" id="{5FAB5E34-4947-4A96-B073-3D90C2A47D69}"/>
                </a:ext>
              </a:extLst>
            </p:cNvPr>
            <p:cNvSpPr/>
            <p:nvPr/>
          </p:nvSpPr>
          <p:spPr bwMode="invGray">
            <a:xfrm>
              <a:off x="1289196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2" name="Freihandform 18">
              <a:extLst>
                <a:ext uri="{FF2B5EF4-FFF2-40B4-BE49-F238E27FC236}">
                  <a16:creationId xmlns:a16="http://schemas.microsoft.com/office/drawing/2014/main" id="{E901DCE8-17C4-4D0F-A0D3-C842B85B34DF}"/>
                </a:ext>
              </a:extLst>
            </p:cNvPr>
            <p:cNvSpPr/>
            <p:nvPr/>
          </p:nvSpPr>
          <p:spPr bwMode="invGray">
            <a:xfrm>
              <a:off x="1311148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792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5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3" name="Freihandform 19">
              <a:extLst>
                <a:ext uri="{FF2B5EF4-FFF2-40B4-BE49-F238E27FC236}">
                  <a16:creationId xmlns:a16="http://schemas.microsoft.com/office/drawing/2014/main" id="{7B705228-D5D6-44EB-AB29-6486B6E45C00}"/>
                </a:ext>
              </a:extLst>
            </p:cNvPr>
            <p:cNvSpPr/>
            <p:nvPr/>
          </p:nvSpPr>
          <p:spPr bwMode="invGray">
            <a:xfrm>
              <a:off x="1361400" y="287852"/>
              <a:ext cx="43350" cy="49149"/>
            </a:xfrm>
            <a:custGeom>
              <a:avLst/>
              <a:gdLst>
                <a:gd name="connsiteX0" fmla="*/ 48424 w 198262"/>
                <a:gd name="connsiteY0" fmla="*/ 210924 h 224783"/>
                <a:gd name="connsiteX1" fmla="*/ 104202 w 198262"/>
                <a:gd name="connsiteY1" fmla="*/ 224784 h 224783"/>
                <a:gd name="connsiteX2" fmla="*/ 146922 w 198262"/>
                <a:gd name="connsiteY2" fmla="*/ 217476 h 224783"/>
                <a:gd name="connsiteX3" fmla="*/ 178106 w 198262"/>
                <a:gd name="connsiteY3" fmla="*/ 196938 h 224783"/>
                <a:gd name="connsiteX4" fmla="*/ 195473 w 198262"/>
                <a:gd name="connsiteY4" fmla="*/ 165942 h 224783"/>
                <a:gd name="connsiteX5" fmla="*/ 155162 w 198262"/>
                <a:gd name="connsiteY5" fmla="*/ 158760 h 224783"/>
                <a:gd name="connsiteX6" fmla="*/ 144006 w 198262"/>
                <a:gd name="connsiteY6" fmla="*/ 175896 h 224783"/>
                <a:gd name="connsiteX7" fmla="*/ 126766 w 198262"/>
                <a:gd name="connsiteY7" fmla="*/ 186354 h 224783"/>
                <a:gd name="connsiteX8" fmla="*/ 104709 w 198262"/>
                <a:gd name="connsiteY8" fmla="*/ 189882 h 224783"/>
                <a:gd name="connsiteX9" fmla="*/ 72003 w 198262"/>
                <a:gd name="connsiteY9" fmla="*/ 181818 h 224783"/>
                <a:gd name="connsiteX10" fmla="*/ 50326 w 198262"/>
                <a:gd name="connsiteY10" fmla="*/ 158508 h 224783"/>
                <a:gd name="connsiteX11" fmla="*/ 42847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424 w 198262"/>
                <a:gd name="connsiteY22" fmla="*/ 210924 h 224783"/>
                <a:gd name="connsiteX23" fmla="*/ 49566 w 198262"/>
                <a:gd name="connsiteY23" fmla="*/ 66150 h 224783"/>
                <a:gd name="connsiteX24" fmla="*/ 70102 w 198262"/>
                <a:gd name="connsiteY24" fmla="*/ 43470 h 224783"/>
                <a:gd name="connsiteX25" fmla="*/ 101413 w 198262"/>
                <a:gd name="connsiteY25" fmla="*/ 34776 h 224783"/>
                <a:gd name="connsiteX26" fmla="*/ 130316 w 198262"/>
                <a:gd name="connsiteY26" fmla="*/ 42336 h 224783"/>
                <a:gd name="connsiteX27" fmla="*/ 149457 w 198262"/>
                <a:gd name="connsiteY27" fmla="*/ 62874 h 224783"/>
                <a:gd name="connsiteX28" fmla="*/ 156303 w 198262"/>
                <a:gd name="connsiteY28" fmla="*/ 92610 h 224783"/>
                <a:gd name="connsiteX29" fmla="*/ 42847 w 198262"/>
                <a:gd name="connsiteY29" fmla="*/ 92610 h 224783"/>
                <a:gd name="connsiteX30" fmla="*/ 49566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424" y="210924"/>
                  </a:moveTo>
                  <a:cubicBezTo>
                    <a:pt x="64017" y="220122"/>
                    <a:pt x="82525" y="224784"/>
                    <a:pt x="104202" y="224784"/>
                  </a:cubicBezTo>
                  <a:cubicBezTo>
                    <a:pt x="120174" y="224784"/>
                    <a:pt x="134372" y="222390"/>
                    <a:pt x="146922" y="217476"/>
                  </a:cubicBezTo>
                  <a:cubicBezTo>
                    <a:pt x="159472" y="212562"/>
                    <a:pt x="169867" y="205758"/>
                    <a:pt x="178106" y="196938"/>
                  </a:cubicBezTo>
                  <a:cubicBezTo>
                    <a:pt x="186473" y="188118"/>
                    <a:pt x="192178" y="177786"/>
                    <a:pt x="195473" y="165942"/>
                  </a:cubicBezTo>
                  <a:lnTo>
                    <a:pt x="155162" y="158760"/>
                  </a:lnTo>
                  <a:cubicBezTo>
                    <a:pt x="152626" y="165564"/>
                    <a:pt x="148823" y="171234"/>
                    <a:pt x="144006" y="175896"/>
                  </a:cubicBezTo>
                  <a:cubicBezTo>
                    <a:pt x="139189" y="180558"/>
                    <a:pt x="133358" y="183960"/>
                    <a:pt x="126766" y="186354"/>
                  </a:cubicBezTo>
                  <a:cubicBezTo>
                    <a:pt x="120048" y="188622"/>
                    <a:pt x="112695" y="189882"/>
                    <a:pt x="104709" y="189882"/>
                  </a:cubicBezTo>
                  <a:cubicBezTo>
                    <a:pt x="92286" y="189882"/>
                    <a:pt x="81384" y="187236"/>
                    <a:pt x="72003" y="181818"/>
                  </a:cubicBezTo>
                  <a:cubicBezTo>
                    <a:pt x="62749" y="176526"/>
                    <a:pt x="55397" y="168714"/>
                    <a:pt x="50326" y="158508"/>
                  </a:cubicBezTo>
                  <a:cubicBezTo>
                    <a:pt x="45509" y="149058"/>
                    <a:pt x="43227" y="137592"/>
                    <a:pt x="42847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0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0916" y="188748"/>
                    <a:pt x="32959" y="201726"/>
                    <a:pt x="48424" y="210924"/>
                  </a:cubicBezTo>
                  <a:close/>
                  <a:moveTo>
                    <a:pt x="49566" y="66150"/>
                  </a:moveTo>
                  <a:cubicBezTo>
                    <a:pt x="54382" y="56826"/>
                    <a:pt x="61228" y="49266"/>
                    <a:pt x="70102" y="43470"/>
                  </a:cubicBezTo>
                  <a:cubicBezTo>
                    <a:pt x="78975" y="37674"/>
                    <a:pt x="89370" y="34776"/>
                    <a:pt x="101413" y="34776"/>
                  </a:cubicBezTo>
                  <a:cubicBezTo>
                    <a:pt x="112442" y="34776"/>
                    <a:pt x="122076" y="37296"/>
                    <a:pt x="130316" y="42336"/>
                  </a:cubicBezTo>
                  <a:cubicBezTo>
                    <a:pt x="138555" y="47376"/>
                    <a:pt x="144894" y="54180"/>
                    <a:pt x="149457" y="62874"/>
                  </a:cubicBezTo>
                  <a:cubicBezTo>
                    <a:pt x="154021" y="71568"/>
                    <a:pt x="156303" y="81396"/>
                    <a:pt x="156303" y="92610"/>
                  </a:cubicBezTo>
                  <a:lnTo>
                    <a:pt x="42847" y="92610"/>
                  </a:lnTo>
                  <a:cubicBezTo>
                    <a:pt x="43354" y="83160"/>
                    <a:pt x="45382" y="74340"/>
                    <a:pt x="49566" y="6615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4" name="Freihandform 20">
              <a:extLst>
                <a:ext uri="{FF2B5EF4-FFF2-40B4-BE49-F238E27FC236}">
                  <a16:creationId xmlns:a16="http://schemas.microsoft.com/office/drawing/2014/main" id="{21E22395-C023-4230-9959-623017CB2A5A}"/>
                </a:ext>
              </a:extLst>
            </p:cNvPr>
            <p:cNvSpPr/>
            <p:nvPr/>
          </p:nvSpPr>
          <p:spPr bwMode="invGray">
            <a:xfrm>
              <a:off x="1412954" y="287852"/>
              <a:ext cx="43350" cy="49149"/>
            </a:xfrm>
            <a:custGeom>
              <a:avLst/>
              <a:gdLst>
                <a:gd name="connsiteX0" fmla="*/ 48552 w 198262"/>
                <a:gd name="connsiteY0" fmla="*/ 210924 h 224783"/>
                <a:gd name="connsiteX1" fmla="*/ 104329 w 198262"/>
                <a:gd name="connsiteY1" fmla="*/ 224784 h 224783"/>
                <a:gd name="connsiteX2" fmla="*/ 147049 w 198262"/>
                <a:gd name="connsiteY2" fmla="*/ 217476 h 224783"/>
                <a:gd name="connsiteX3" fmla="*/ 178234 w 198262"/>
                <a:gd name="connsiteY3" fmla="*/ 196938 h 224783"/>
                <a:gd name="connsiteX4" fmla="*/ 195601 w 198262"/>
                <a:gd name="connsiteY4" fmla="*/ 165942 h 224783"/>
                <a:gd name="connsiteX5" fmla="*/ 155289 w 198262"/>
                <a:gd name="connsiteY5" fmla="*/ 158760 h 224783"/>
                <a:gd name="connsiteX6" fmla="*/ 144133 w 198262"/>
                <a:gd name="connsiteY6" fmla="*/ 175896 h 224783"/>
                <a:gd name="connsiteX7" fmla="*/ 126893 w 198262"/>
                <a:gd name="connsiteY7" fmla="*/ 186354 h 224783"/>
                <a:gd name="connsiteX8" fmla="*/ 104836 w 198262"/>
                <a:gd name="connsiteY8" fmla="*/ 189882 h 224783"/>
                <a:gd name="connsiteX9" fmla="*/ 72130 w 198262"/>
                <a:gd name="connsiteY9" fmla="*/ 181818 h 224783"/>
                <a:gd name="connsiteX10" fmla="*/ 50453 w 198262"/>
                <a:gd name="connsiteY10" fmla="*/ 158508 h 224783"/>
                <a:gd name="connsiteX11" fmla="*/ 42974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552 w 198262"/>
                <a:gd name="connsiteY22" fmla="*/ 210924 h 224783"/>
                <a:gd name="connsiteX23" fmla="*/ 49693 w 198262"/>
                <a:gd name="connsiteY23" fmla="*/ 66150 h 224783"/>
                <a:gd name="connsiteX24" fmla="*/ 70229 w 198262"/>
                <a:gd name="connsiteY24" fmla="*/ 43470 h 224783"/>
                <a:gd name="connsiteX25" fmla="*/ 101540 w 198262"/>
                <a:gd name="connsiteY25" fmla="*/ 34776 h 224783"/>
                <a:gd name="connsiteX26" fmla="*/ 130443 w 198262"/>
                <a:gd name="connsiteY26" fmla="*/ 42336 h 224783"/>
                <a:gd name="connsiteX27" fmla="*/ 149584 w 198262"/>
                <a:gd name="connsiteY27" fmla="*/ 62874 h 224783"/>
                <a:gd name="connsiteX28" fmla="*/ 156430 w 198262"/>
                <a:gd name="connsiteY28" fmla="*/ 92610 h 224783"/>
                <a:gd name="connsiteX29" fmla="*/ 42974 w 198262"/>
                <a:gd name="connsiteY29" fmla="*/ 92610 h 224783"/>
                <a:gd name="connsiteX30" fmla="*/ 49693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552" y="210924"/>
                  </a:moveTo>
                  <a:cubicBezTo>
                    <a:pt x="64144" y="220122"/>
                    <a:pt x="82652" y="224784"/>
                    <a:pt x="104329" y="224784"/>
                  </a:cubicBezTo>
                  <a:cubicBezTo>
                    <a:pt x="120301" y="224784"/>
                    <a:pt x="134499" y="222390"/>
                    <a:pt x="147049" y="217476"/>
                  </a:cubicBezTo>
                  <a:cubicBezTo>
                    <a:pt x="159599" y="212562"/>
                    <a:pt x="169993" y="205758"/>
                    <a:pt x="178234" y="196938"/>
                  </a:cubicBezTo>
                  <a:cubicBezTo>
                    <a:pt x="186600" y="188118"/>
                    <a:pt x="192304" y="177786"/>
                    <a:pt x="195601" y="165942"/>
                  </a:cubicBezTo>
                  <a:lnTo>
                    <a:pt x="155289" y="158760"/>
                  </a:lnTo>
                  <a:cubicBezTo>
                    <a:pt x="152753" y="165564"/>
                    <a:pt x="148950" y="171234"/>
                    <a:pt x="144133" y="175896"/>
                  </a:cubicBezTo>
                  <a:cubicBezTo>
                    <a:pt x="139316" y="180558"/>
                    <a:pt x="133485" y="183960"/>
                    <a:pt x="126893" y="186354"/>
                  </a:cubicBezTo>
                  <a:cubicBezTo>
                    <a:pt x="120174" y="188622"/>
                    <a:pt x="112822" y="189882"/>
                    <a:pt x="104836" y="189882"/>
                  </a:cubicBezTo>
                  <a:cubicBezTo>
                    <a:pt x="92413" y="189882"/>
                    <a:pt x="81511" y="187236"/>
                    <a:pt x="72130" y="181818"/>
                  </a:cubicBezTo>
                  <a:cubicBezTo>
                    <a:pt x="62876" y="176526"/>
                    <a:pt x="55524" y="168714"/>
                    <a:pt x="50453" y="158508"/>
                  </a:cubicBezTo>
                  <a:cubicBezTo>
                    <a:pt x="45636" y="149058"/>
                    <a:pt x="43354" y="137592"/>
                    <a:pt x="42974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1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8748"/>
                    <a:pt x="33086" y="201726"/>
                    <a:pt x="48552" y="210924"/>
                  </a:cubicBezTo>
                  <a:close/>
                  <a:moveTo>
                    <a:pt x="49693" y="66150"/>
                  </a:moveTo>
                  <a:cubicBezTo>
                    <a:pt x="54510" y="56826"/>
                    <a:pt x="61355" y="49266"/>
                    <a:pt x="70229" y="43470"/>
                  </a:cubicBezTo>
                  <a:cubicBezTo>
                    <a:pt x="79102" y="37674"/>
                    <a:pt x="89497" y="34776"/>
                    <a:pt x="101540" y="34776"/>
                  </a:cubicBezTo>
                  <a:cubicBezTo>
                    <a:pt x="112568" y="34776"/>
                    <a:pt x="122203" y="37296"/>
                    <a:pt x="130443" y="42336"/>
                  </a:cubicBezTo>
                  <a:cubicBezTo>
                    <a:pt x="138682" y="47376"/>
                    <a:pt x="145021" y="54180"/>
                    <a:pt x="149584" y="62874"/>
                  </a:cubicBezTo>
                  <a:cubicBezTo>
                    <a:pt x="154148" y="71568"/>
                    <a:pt x="156430" y="81396"/>
                    <a:pt x="156430" y="92610"/>
                  </a:cubicBezTo>
                  <a:lnTo>
                    <a:pt x="42974" y="92610"/>
                  </a:lnTo>
                  <a:cubicBezTo>
                    <a:pt x="43481" y="83160"/>
                    <a:pt x="45509" y="74340"/>
                    <a:pt x="49693" y="6615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5" name="Freihandform 21">
              <a:extLst>
                <a:ext uri="{FF2B5EF4-FFF2-40B4-BE49-F238E27FC236}">
                  <a16:creationId xmlns:a16="http://schemas.microsoft.com/office/drawing/2014/main" id="{1E2BB517-8F29-4022-AE5A-40B42F664F3A}"/>
                </a:ext>
              </a:extLst>
            </p:cNvPr>
            <p:cNvSpPr/>
            <p:nvPr/>
          </p:nvSpPr>
          <p:spPr bwMode="invGray">
            <a:xfrm>
              <a:off x="1466698" y="287687"/>
              <a:ext cx="25638" cy="48322"/>
            </a:xfrm>
            <a:custGeom>
              <a:avLst/>
              <a:gdLst>
                <a:gd name="connsiteX0" fmla="*/ 42720 w 117258"/>
                <a:gd name="connsiteY0" fmla="*/ 88074 h 221003"/>
                <a:gd name="connsiteX1" fmla="*/ 49566 w 117258"/>
                <a:gd name="connsiteY1" fmla="*/ 62748 h 221003"/>
                <a:gd name="connsiteX2" fmla="*/ 68200 w 117258"/>
                <a:gd name="connsiteY2" fmla="*/ 45360 h 221003"/>
                <a:gd name="connsiteX3" fmla="*/ 95075 w 117258"/>
                <a:gd name="connsiteY3" fmla="*/ 39060 h 221003"/>
                <a:gd name="connsiteX4" fmla="*/ 108132 w 117258"/>
                <a:gd name="connsiteY4" fmla="*/ 39942 h 221003"/>
                <a:gd name="connsiteX5" fmla="*/ 117259 w 117258"/>
                <a:gd name="connsiteY5" fmla="*/ 41580 h 221003"/>
                <a:gd name="connsiteX6" fmla="*/ 117259 w 117258"/>
                <a:gd name="connsiteY6" fmla="*/ 1008 h 221003"/>
                <a:gd name="connsiteX7" fmla="*/ 108639 w 117258"/>
                <a:gd name="connsiteY7" fmla="*/ 252 h 221003"/>
                <a:gd name="connsiteX8" fmla="*/ 99131 w 117258"/>
                <a:gd name="connsiteY8" fmla="*/ 0 h 221003"/>
                <a:gd name="connsiteX9" fmla="*/ 64651 w 117258"/>
                <a:gd name="connsiteY9" fmla="*/ 10080 h 221003"/>
                <a:gd name="connsiteX10" fmla="*/ 43481 w 117258"/>
                <a:gd name="connsiteY10" fmla="*/ 37800 h 221003"/>
                <a:gd name="connsiteX11" fmla="*/ 41199 w 117258"/>
                <a:gd name="connsiteY11" fmla="*/ 37800 h 221003"/>
                <a:gd name="connsiteX12" fmla="*/ 41199 w 117258"/>
                <a:gd name="connsiteY12" fmla="*/ 3276 h 221003"/>
                <a:gd name="connsiteX13" fmla="*/ 0 w 117258"/>
                <a:gd name="connsiteY13" fmla="*/ 3276 h 221003"/>
                <a:gd name="connsiteX14" fmla="*/ 0 w 117258"/>
                <a:gd name="connsiteY14" fmla="*/ 221004 h 221003"/>
                <a:gd name="connsiteX15" fmla="*/ 42720 w 117258"/>
                <a:gd name="connsiteY15" fmla="*/ 221004 h 221003"/>
                <a:gd name="connsiteX16" fmla="*/ 42720 w 117258"/>
                <a:gd name="connsiteY16" fmla="*/ 88074 h 22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3">
                  <a:moveTo>
                    <a:pt x="42720" y="88074"/>
                  </a:move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6" name="Freihandform 22">
              <a:extLst>
                <a:ext uri="{FF2B5EF4-FFF2-40B4-BE49-F238E27FC236}">
                  <a16:creationId xmlns:a16="http://schemas.microsoft.com/office/drawing/2014/main" id="{0C728F05-57FE-4401-8837-450B15131652}"/>
                </a:ext>
              </a:extLst>
            </p:cNvPr>
            <p:cNvSpPr/>
            <p:nvPr/>
          </p:nvSpPr>
          <p:spPr bwMode="invGray">
            <a:xfrm>
              <a:off x="1500430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7" name="Freihandform 23">
              <a:extLst>
                <a:ext uri="{FF2B5EF4-FFF2-40B4-BE49-F238E27FC236}">
                  <a16:creationId xmlns:a16="http://schemas.microsoft.com/office/drawing/2014/main" id="{139BA451-36CE-4C7D-8CDD-B97DEAC6048F}"/>
                </a:ext>
              </a:extLst>
            </p:cNvPr>
            <p:cNvSpPr/>
            <p:nvPr/>
          </p:nvSpPr>
          <p:spPr bwMode="invGray">
            <a:xfrm>
              <a:off x="1499266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4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184" y="48132"/>
                    <a:pt x="19522" y="50652"/>
                    <a:pt x="26874" y="506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8" name="Freihandform 24">
              <a:extLst>
                <a:ext uri="{FF2B5EF4-FFF2-40B4-BE49-F238E27FC236}">
                  <a16:creationId xmlns:a16="http://schemas.microsoft.com/office/drawing/2014/main" id="{249EBBFB-F3E2-46CC-A091-037BADCC2169}"/>
                </a:ext>
              </a:extLst>
            </p:cNvPr>
            <p:cNvSpPr/>
            <p:nvPr/>
          </p:nvSpPr>
          <p:spPr bwMode="invGray">
            <a:xfrm>
              <a:off x="1522355" y="287769"/>
              <a:ext cx="39941" cy="48267"/>
            </a:xfrm>
            <a:custGeom>
              <a:avLst/>
              <a:gdLst>
                <a:gd name="connsiteX0" fmla="*/ 182670 w 182670"/>
                <a:gd name="connsiteY0" fmla="*/ 220752 h 220751"/>
                <a:gd name="connsiteX1" fmla="*/ 182670 w 182670"/>
                <a:gd name="connsiteY1" fmla="*/ 82152 h 220751"/>
                <a:gd name="connsiteX2" fmla="*/ 173416 w 182670"/>
                <a:gd name="connsiteY2" fmla="*/ 36918 h 220751"/>
                <a:gd name="connsiteX3" fmla="*/ 147303 w 182670"/>
                <a:gd name="connsiteY3" fmla="*/ 9324 h 220751"/>
                <a:gd name="connsiteX4" fmla="*/ 108132 w 182670"/>
                <a:gd name="connsiteY4" fmla="*/ 0 h 220751"/>
                <a:gd name="connsiteX5" fmla="*/ 67313 w 182670"/>
                <a:gd name="connsiteY5" fmla="*/ 10458 h 220751"/>
                <a:gd name="connsiteX6" fmla="*/ 43608 w 182670"/>
                <a:gd name="connsiteY6" fmla="*/ 38304 h 220751"/>
                <a:gd name="connsiteX7" fmla="*/ 40946 w 182670"/>
                <a:gd name="connsiteY7" fmla="*/ 38304 h 220751"/>
                <a:gd name="connsiteX8" fmla="*/ 40946 w 182670"/>
                <a:gd name="connsiteY8" fmla="*/ 2898 h 220751"/>
                <a:gd name="connsiteX9" fmla="*/ 0 w 182670"/>
                <a:gd name="connsiteY9" fmla="*/ 2898 h 220751"/>
                <a:gd name="connsiteX10" fmla="*/ 0 w 182670"/>
                <a:gd name="connsiteY10" fmla="*/ 220626 h 220751"/>
                <a:gd name="connsiteX11" fmla="*/ 42721 w 182670"/>
                <a:gd name="connsiteY11" fmla="*/ 220626 h 220751"/>
                <a:gd name="connsiteX12" fmla="*/ 42721 w 182670"/>
                <a:gd name="connsiteY12" fmla="*/ 91350 h 220751"/>
                <a:gd name="connsiteX13" fmla="*/ 49312 w 182670"/>
                <a:gd name="connsiteY13" fmla="*/ 61740 h 220751"/>
                <a:gd name="connsiteX14" fmla="*/ 67440 w 182670"/>
                <a:gd name="connsiteY14" fmla="*/ 43092 h 220751"/>
                <a:gd name="connsiteX15" fmla="*/ 93807 w 182670"/>
                <a:gd name="connsiteY15" fmla="*/ 36666 h 220751"/>
                <a:gd name="connsiteX16" fmla="*/ 127907 w 182670"/>
                <a:gd name="connsiteY16" fmla="*/ 50022 h 220751"/>
                <a:gd name="connsiteX17" fmla="*/ 140330 w 182670"/>
                <a:gd name="connsiteY17" fmla="*/ 87066 h 220751"/>
                <a:gd name="connsiteX18" fmla="*/ 140330 w 182670"/>
                <a:gd name="connsiteY18" fmla="*/ 220500 h 220751"/>
                <a:gd name="connsiteX19" fmla="*/ 182670 w 182670"/>
                <a:gd name="connsiteY19" fmla="*/ 220500 h 220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751">
                  <a:moveTo>
                    <a:pt x="182670" y="220752"/>
                  </a:moveTo>
                  <a:lnTo>
                    <a:pt x="182670" y="82152"/>
                  </a:lnTo>
                  <a:cubicBezTo>
                    <a:pt x="182670" y="64260"/>
                    <a:pt x="179628" y="49140"/>
                    <a:pt x="173416" y="36918"/>
                  </a:cubicBezTo>
                  <a:cubicBezTo>
                    <a:pt x="167205" y="24696"/>
                    <a:pt x="158585" y="15498"/>
                    <a:pt x="147303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2" y="26712"/>
                    <a:pt x="43608" y="38304"/>
                  </a:cubicBezTo>
                  <a:lnTo>
                    <a:pt x="40946" y="38304"/>
                  </a:lnTo>
                  <a:lnTo>
                    <a:pt x="40946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1" y="220626"/>
                  </a:lnTo>
                  <a:lnTo>
                    <a:pt x="42721" y="91350"/>
                  </a:lnTo>
                  <a:cubicBezTo>
                    <a:pt x="42721" y="79884"/>
                    <a:pt x="44875" y="69930"/>
                    <a:pt x="49312" y="61740"/>
                  </a:cubicBezTo>
                  <a:cubicBezTo>
                    <a:pt x="53749" y="53550"/>
                    <a:pt x="59707" y="47376"/>
                    <a:pt x="67440" y="43092"/>
                  </a:cubicBezTo>
                  <a:cubicBezTo>
                    <a:pt x="75173" y="38808"/>
                    <a:pt x="83920" y="36666"/>
                    <a:pt x="93807" y="36666"/>
                  </a:cubicBezTo>
                  <a:cubicBezTo>
                    <a:pt x="108258" y="36666"/>
                    <a:pt x="119667" y="41076"/>
                    <a:pt x="127907" y="50022"/>
                  </a:cubicBezTo>
                  <a:cubicBezTo>
                    <a:pt x="136147" y="58968"/>
                    <a:pt x="140330" y="71316"/>
                    <a:pt x="140330" y="87066"/>
                  </a:cubicBezTo>
                  <a:lnTo>
                    <a:pt x="140330" y="220500"/>
                  </a:lnTo>
                  <a:lnTo>
                    <a:pt x="182670" y="22050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9" name="Freihandform 25">
              <a:extLst>
                <a:ext uri="{FF2B5EF4-FFF2-40B4-BE49-F238E27FC236}">
                  <a16:creationId xmlns:a16="http://schemas.microsoft.com/office/drawing/2014/main" id="{DCDE3BF8-38D7-49D1-99BC-C197D071097F}"/>
                </a:ext>
              </a:extLst>
            </p:cNvPr>
            <p:cNvSpPr/>
            <p:nvPr/>
          </p:nvSpPr>
          <p:spPr bwMode="invGray">
            <a:xfrm>
              <a:off x="1572634" y="287797"/>
              <a:ext cx="43766" cy="66974"/>
            </a:xfrm>
            <a:custGeom>
              <a:avLst/>
              <a:gdLst>
                <a:gd name="connsiteX0" fmla="*/ 158585 w 200163"/>
                <a:gd name="connsiteY0" fmla="*/ 2772 h 306306"/>
                <a:gd name="connsiteX1" fmla="*/ 158585 w 200163"/>
                <a:gd name="connsiteY1" fmla="*/ 38052 h 306306"/>
                <a:gd name="connsiteX2" fmla="*/ 155415 w 200163"/>
                <a:gd name="connsiteY2" fmla="*/ 38052 h 306306"/>
                <a:gd name="connsiteX3" fmla="*/ 144513 w 200163"/>
                <a:gd name="connsiteY3" fmla="*/ 22302 h 306306"/>
                <a:gd name="connsiteX4" fmla="*/ 124865 w 200163"/>
                <a:gd name="connsiteY4" fmla="*/ 6678 h 306306"/>
                <a:gd name="connsiteX5" fmla="*/ 91905 w 200163"/>
                <a:gd name="connsiteY5" fmla="*/ 0 h 306306"/>
                <a:gd name="connsiteX6" fmla="*/ 44622 w 200163"/>
                <a:gd name="connsiteY6" fmla="*/ 13230 h 306306"/>
                <a:gd name="connsiteX7" fmla="*/ 11916 w 200163"/>
                <a:gd name="connsiteY7" fmla="*/ 51282 h 306306"/>
                <a:gd name="connsiteX8" fmla="*/ 0 w 200163"/>
                <a:gd name="connsiteY8" fmla="*/ 110880 h 306306"/>
                <a:gd name="connsiteX9" fmla="*/ 12043 w 200163"/>
                <a:gd name="connsiteY9" fmla="*/ 169344 h 306306"/>
                <a:gd name="connsiteX10" fmla="*/ 44875 w 200163"/>
                <a:gd name="connsiteY10" fmla="*/ 205254 h 306306"/>
                <a:gd name="connsiteX11" fmla="*/ 91525 w 200163"/>
                <a:gd name="connsiteY11" fmla="*/ 217350 h 306306"/>
                <a:gd name="connsiteX12" fmla="*/ 124231 w 200163"/>
                <a:gd name="connsiteY12" fmla="*/ 211050 h 306306"/>
                <a:gd name="connsiteX13" fmla="*/ 144006 w 200163"/>
                <a:gd name="connsiteY13" fmla="*/ 196308 h 306306"/>
                <a:gd name="connsiteX14" fmla="*/ 155035 w 200163"/>
                <a:gd name="connsiteY14" fmla="*/ 180810 h 306306"/>
                <a:gd name="connsiteX15" fmla="*/ 157697 w 200163"/>
                <a:gd name="connsiteY15" fmla="*/ 180810 h 306306"/>
                <a:gd name="connsiteX16" fmla="*/ 157697 w 200163"/>
                <a:gd name="connsiteY16" fmla="*/ 223650 h 306306"/>
                <a:gd name="connsiteX17" fmla="*/ 141851 w 200163"/>
                <a:gd name="connsiteY17" fmla="*/ 260568 h 306306"/>
                <a:gd name="connsiteX18" fmla="*/ 101793 w 200163"/>
                <a:gd name="connsiteY18" fmla="*/ 272160 h 306306"/>
                <a:gd name="connsiteX19" fmla="*/ 72891 w 200163"/>
                <a:gd name="connsiteY19" fmla="*/ 267246 h 306306"/>
                <a:gd name="connsiteX20" fmla="*/ 55270 w 200163"/>
                <a:gd name="connsiteY20" fmla="*/ 255276 h 306306"/>
                <a:gd name="connsiteX21" fmla="*/ 44875 w 200163"/>
                <a:gd name="connsiteY21" fmla="*/ 242424 h 306306"/>
                <a:gd name="connsiteX22" fmla="*/ 8240 w 200163"/>
                <a:gd name="connsiteY22" fmla="*/ 257418 h 306306"/>
                <a:gd name="connsiteX23" fmla="*/ 25860 w 200163"/>
                <a:gd name="connsiteY23" fmla="*/ 281610 h 306306"/>
                <a:gd name="connsiteX24" fmla="*/ 56411 w 200163"/>
                <a:gd name="connsiteY24" fmla="*/ 299502 h 306306"/>
                <a:gd name="connsiteX25" fmla="*/ 101286 w 200163"/>
                <a:gd name="connsiteY25" fmla="*/ 306306 h 306306"/>
                <a:gd name="connsiteX26" fmla="*/ 151486 w 200163"/>
                <a:gd name="connsiteY26" fmla="*/ 297612 h 306306"/>
                <a:gd name="connsiteX27" fmla="*/ 186980 w 200163"/>
                <a:gd name="connsiteY27" fmla="*/ 271026 h 306306"/>
                <a:gd name="connsiteX28" fmla="*/ 200164 w 200163"/>
                <a:gd name="connsiteY28" fmla="*/ 225288 h 306306"/>
                <a:gd name="connsiteX29" fmla="*/ 200164 w 200163"/>
                <a:gd name="connsiteY29" fmla="*/ 2772 h 306306"/>
                <a:gd name="connsiteX30" fmla="*/ 158585 w 200163"/>
                <a:gd name="connsiteY30" fmla="*/ 2772 h 306306"/>
                <a:gd name="connsiteX31" fmla="*/ 151739 w 200163"/>
                <a:gd name="connsiteY31" fmla="*/ 148932 h 306306"/>
                <a:gd name="connsiteX32" fmla="*/ 132344 w 200163"/>
                <a:gd name="connsiteY32" fmla="*/ 173628 h 306306"/>
                <a:gd name="connsiteX33" fmla="*/ 101160 w 200163"/>
                <a:gd name="connsiteY33" fmla="*/ 182196 h 306306"/>
                <a:gd name="connsiteX34" fmla="*/ 69341 w 200163"/>
                <a:gd name="connsiteY34" fmla="*/ 173124 h 306306"/>
                <a:gd name="connsiteX35" fmla="*/ 49946 w 200163"/>
                <a:gd name="connsiteY35" fmla="*/ 147924 h 306306"/>
                <a:gd name="connsiteX36" fmla="*/ 43354 w 200163"/>
                <a:gd name="connsiteY36" fmla="*/ 110376 h 306306"/>
                <a:gd name="connsiteX37" fmla="*/ 49819 w 200163"/>
                <a:gd name="connsiteY37" fmla="*/ 72702 h 306306"/>
                <a:gd name="connsiteX38" fmla="*/ 69088 w 200163"/>
                <a:gd name="connsiteY38" fmla="*/ 45990 h 306306"/>
                <a:gd name="connsiteX39" fmla="*/ 101160 w 200163"/>
                <a:gd name="connsiteY39" fmla="*/ 36162 h 306306"/>
                <a:gd name="connsiteX40" fmla="*/ 132597 w 200163"/>
                <a:gd name="connsiteY40" fmla="*/ 45612 h 306306"/>
                <a:gd name="connsiteX41" fmla="*/ 151866 w 200163"/>
                <a:gd name="connsiteY41" fmla="*/ 71820 h 306306"/>
                <a:gd name="connsiteX42" fmla="*/ 158458 w 200163"/>
                <a:gd name="connsiteY42" fmla="*/ 110502 h 306306"/>
                <a:gd name="connsiteX43" fmla="*/ 151739 w 200163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163" h="306306">
                  <a:moveTo>
                    <a:pt x="158585" y="2772"/>
                  </a:move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6" y="196308"/>
                  </a:cubicBezTo>
                  <a:cubicBezTo>
                    <a:pt x="148823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2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19921" y="306306"/>
                    <a:pt x="136654" y="303408"/>
                    <a:pt x="151486" y="297612"/>
                  </a:cubicBezTo>
                  <a:cubicBezTo>
                    <a:pt x="166317" y="291816"/>
                    <a:pt x="178233" y="282996"/>
                    <a:pt x="186980" y="271026"/>
                  </a:cubicBezTo>
                  <a:cubicBezTo>
                    <a:pt x="195727" y="259056"/>
                    <a:pt x="200164" y="243810"/>
                    <a:pt x="200164" y="225288"/>
                  </a:cubicBezTo>
                  <a:lnTo>
                    <a:pt x="200164" y="2772"/>
                  </a:lnTo>
                  <a:lnTo>
                    <a:pt x="158585" y="2772"/>
                  </a:lnTo>
                  <a:close/>
                  <a:moveTo>
                    <a:pt x="151739" y="148932"/>
                  </a:moveTo>
                  <a:cubicBezTo>
                    <a:pt x="147302" y="159642"/>
                    <a:pt x="140837" y="167832"/>
                    <a:pt x="132344" y="173628"/>
                  </a:cubicBezTo>
                  <a:cubicBezTo>
                    <a:pt x="123850" y="179298"/>
                    <a:pt x="113456" y="182196"/>
                    <a:pt x="101160" y="182196"/>
                  </a:cubicBezTo>
                  <a:cubicBezTo>
                    <a:pt x="88483" y="182196"/>
                    <a:pt x="77834" y="179172"/>
                    <a:pt x="69341" y="173124"/>
                  </a:cubicBezTo>
                  <a:cubicBezTo>
                    <a:pt x="60848" y="167076"/>
                    <a:pt x="54256" y="158634"/>
                    <a:pt x="49946" y="147924"/>
                  </a:cubicBezTo>
                  <a:cubicBezTo>
                    <a:pt x="45509" y="137088"/>
                    <a:pt x="43354" y="124614"/>
                    <a:pt x="43354" y="110376"/>
                  </a:cubicBezTo>
                  <a:cubicBezTo>
                    <a:pt x="43354" y="96516"/>
                    <a:pt x="45509" y="83916"/>
                    <a:pt x="49819" y="72702"/>
                  </a:cubicBezTo>
                  <a:cubicBezTo>
                    <a:pt x="54129" y="61488"/>
                    <a:pt x="60594" y="52542"/>
                    <a:pt x="69088" y="45990"/>
                  </a:cubicBezTo>
                  <a:cubicBezTo>
                    <a:pt x="77581" y="39438"/>
                    <a:pt x="88356" y="36162"/>
                    <a:pt x="101160" y="36162"/>
                  </a:cubicBezTo>
                  <a:cubicBezTo>
                    <a:pt x="113582" y="36162"/>
                    <a:pt x="124104" y="39312"/>
                    <a:pt x="132597" y="45612"/>
                  </a:cubicBezTo>
                  <a:cubicBezTo>
                    <a:pt x="141091" y="51912"/>
                    <a:pt x="147429" y="60606"/>
                    <a:pt x="151866" y="71820"/>
                  </a:cubicBezTo>
                  <a:cubicBezTo>
                    <a:pt x="156176" y="83034"/>
                    <a:pt x="158458" y="95886"/>
                    <a:pt x="158458" y="110502"/>
                  </a:cubicBezTo>
                  <a:cubicBezTo>
                    <a:pt x="158331" y="125370"/>
                    <a:pt x="156176" y="138222"/>
                    <a:pt x="151739" y="14893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0" name="Freihandform 26">
              <a:extLst>
                <a:ext uri="{FF2B5EF4-FFF2-40B4-BE49-F238E27FC236}">
                  <a16:creationId xmlns:a16="http://schemas.microsoft.com/office/drawing/2014/main" id="{D35E5E15-C461-4439-AC18-BA347E8E9B02}"/>
                </a:ext>
              </a:extLst>
            </p:cNvPr>
            <p:cNvSpPr/>
            <p:nvPr/>
          </p:nvSpPr>
          <p:spPr bwMode="invGray">
            <a:xfrm>
              <a:off x="1125303" y="358490"/>
              <a:ext cx="29408" cy="66478"/>
            </a:xfrm>
            <a:custGeom>
              <a:avLst/>
              <a:gdLst>
                <a:gd name="connsiteX0" fmla="*/ 33974 w 134499"/>
                <a:gd name="connsiteY0" fmla="*/ 304038 h 304038"/>
                <a:gd name="connsiteX1" fmla="*/ 76567 w 134499"/>
                <a:gd name="connsiteY1" fmla="*/ 304038 h 304038"/>
                <a:gd name="connsiteX2" fmla="*/ 76567 w 134499"/>
                <a:gd name="connsiteY2" fmla="*/ 120204 h 304038"/>
                <a:gd name="connsiteX3" fmla="*/ 123851 w 134499"/>
                <a:gd name="connsiteY3" fmla="*/ 120204 h 304038"/>
                <a:gd name="connsiteX4" fmla="*/ 123851 w 134499"/>
                <a:gd name="connsiteY4" fmla="*/ 86184 h 304038"/>
                <a:gd name="connsiteX5" fmla="*/ 76567 w 134499"/>
                <a:gd name="connsiteY5" fmla="*/ 86184 h 304038"/>
                <a:gd name="connsiteX6" fmla="*/ 76567 w 134499"/>
                <a:gd name="connsiteY6" fmla="*/ 66654 h 304038"/>
                <a:gd name="connsiteX7" fmla="*/ 83159 w 134499"/>
                <a:gd name="connsiteY7" fmla="*/ 44478 h 304038"/>
                <a:gd name="connsiteX8" fmla="*/ 105343 w 134499"/>
                <a:gd name="connsiteY8" fmla="*/ 36792 h 304038"/>
                <a:gd name="connsiteX9" fmla="*/ 116752 w 134499"/>
                <a:gd name="connsiteY9" fmla="*/ 38052 h 304038"/>
                <a:gd name="connsiteX10" fmla="*/ 124484 w 134499"/>
                <a:gd name="connsiteY10" fmla="*/ 40068 h 304038"/>
                <a:gd name="connsiteX11" fmla="*/ 134499 w 134499"/>
                <a:gd name="connsiteY11" fmla="*/ 5796 h 304038"/>
                <a:gd name="connsiteX12" fmla="*/ 120935 w 134499"/>
                <a:gd name="connsiteY12" fmla="*/ 2016 h 304038"/>
                <a:gd name="connsiteX13" fmla="*/ 99005 w 134499"/>
                <a:gd name="connsiteY13" fmla="*/ 0 h 304038"/>
                <a:gd name="connsiteX14" fmla="*/ 66806 w 134499"/>
                <a:gd name="connsiteY14" fmla="*/ 6804 h 304038"/>
                <a:gd name="connsiteX15" fmla="*/ 42974 w 134499"/>
                <a:gd name="connsiteY15" fmla="*/ 27090 h 304038"/>
                <a:gd name="connsiteX16" fmla="*/ 33974 w 134499"/>
                <a:gd name="connsiteY16" fmla="*/ 60984 h 304038"/>
                <a:gd name="connsiteX17" fmla="*/ 33974 w 134499"/>
                <a:gd name="connsiteY17" fmla="*/ 86184 h 304038"/>
                <a:gd name="connsiteX18" fmla="*/ 0 w 134499"/>
                <a:gd name="connsiteY18" fmla="*/ 86184 h 304038"/>
                <a:gd name="connsiteX19" fmla="*/ 0 w 134499"/>
                <a:gd name="connsiteY19" fmla="*/ 120204 h 304038"/>
                <a:gd name="connsiteX20" fmla="*/ 33974 w 134499"/>
                <a:gd name="connsiteY20" fmla="*/ 120204 h 304038"/>
                <a:gd name="connsiteX21" fmla="*/ 33974 w 134499"/>
                <a:gd name="connsiteY21" fmla="*/ 304038 h 304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4499" h="304038">
                  <a:moveTo>
                    <a:pt x="33974" y="304038"/>
                  </a:moveTo>
                  <a:lnTo>
                    <a:pt x="76567" y="304038"/>
                  </a:lnTo>
                  <a:lnTo>
                    <a:pt x="76567" y="120204"/>
                  </a:lnTo>
                  <a:lnTo>
                    <a:pt x="123851" y="120204"/>
                  </a:lnTo>
                  <a:lnTo>
                    <a:pt x="123851" y="86184"/>
                  </a:lnTo>
                  <a:lnTo>
                    <a:pt x="76567" y="86184"/>
                  </a:lnTo>
                  <a:lnTo>
                    <a:pt x="76567" y="66654"/>
                  </a:lnTo>
                  <a:cubicBezTo>
                    <a:pt x="76567" y="56952"/>
                    <a:pt x="78849" y="49644"/>
                    <a:pt x="83159" y="44478"/>
                  </a:cubicBezTo>
                  <a:cubicBezTo>
                    <a:pt x="87595" y="39438"/>
                    <a:pt x="94948" y="36792"/>
                    <a:pt x="105343" y="36792"/>
                  </a:cubicBezTo>
                  <a:cubicBezTo>
                    <a:pt x="109780" y="36792"/>
                    <a:pt x="113583" y="37170"/>
                    <a:pt x="116752" y="38052"/>
                  </a:cubicBezTo>
                  <a:cubicBezTo>
                    <a:pt x="119921" y="38808"/>
                    <a:pt x="122456" y="39564"/>
                    <a:pt x="124484" y="40068"/>
                  </a:cubicBezTo>
                  <a:lnTo>
                    <a:pt x="134499" y="5796"/>
                  </a:lnTo>
                  <a:cubicBezTo>
                    <a:pt x="131583" y="4662"/>
                    <a:pt x="127020" y="3402"/>
                    <a:pt x="120935" y="2016"/>
                  </a:cubicBezTo>
                  <a:cubicBezTo>
                    <a:pt x="114851" y="630"/>
                    <a:pt x="107498" y="0"/>
                    <a:pt x="99005" y="0"/>
                  </a:cubicBezTo>
                  <a:cubicBezTo>
                    <a:pt x="87469" y="0"/>
                    <a:pt x="76694" y="2268"/>
                    <a:pt x="66806" y="6804"/>
                  </a:cubicBezTo>
                  <a:cubicBezTo>
                    <a:pt x="56918" y="11340"/>
                    <a:pt x="48932" y="18018"/>
                    <a:pt x="42974" y="27090"/>
                  </a:cubicBezTo>
                  <a:cubicBezTo>
                    <a:pt x="37016" y="36162"/>
                    <a:pt x="33974" y="47376"/>
                    <a:pt x="33974" y="60984"/>
                  </a:cubicBezTo>
                  <a:lnTo>
                    <a:pt x="33974" y="86184"/>
                  </a:lnTo>
                  <a:lnTo>
                    <a:pt x="0" y="86184"/>
                  </a:lnTo>
                  <a:lnTo>
                    <a:pt x="0" y="120204"/>
                  </a:lnTo>
                  <a:lnTo>
                    <a:pt x="33974" y="120204"/>
                  </a:lnTo>
                  <a:lnTo>
                    <a:pt x="33974" y="30403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1" name="Freihandform 27">
              <a:extLst>
                <a:ext uri="{FF2B5EF4-FFF2-40B4-BE49-F238E27FC236}">
                  <a16:creationId xmlns:a16="http://schemas.microsoft.com/office/drawing/2014/main" id="{6C5BF7EA-6C05-489E-9BEF-0CFEC8C016FB}"/>
                </a:ext>
              </a:extLst>
            </p:cNvPr>
            <p:cNvSpPr/>
            <p:nvPr/>
          </p:nvSpPr>
          <p:spPr bwMode="invGray">
            <a:xfrm>
              <a:off x="1159174" y="376728"/>
              <a:ext cx="44625" cy="49176"/>
            </a:xfrm>
            <a:custGeom>
              <a:avLst/>
              <a:gdLst>
                <a:gd name="connsiteX0" fmla="*/ 204094 w 204093"/>
                <a:gd name="connsiteY0" fmla="*/ 112644 h 224909"/>
                <a:gd name="connsiteX1" fmla="*/ 191417 w 204093"/>
                <a:gd name="connsiteY1" fmla="*/ 53424 h 224909"/>
                <a:gd name="connsiteX2" fmla="*/ 155796 w 204093"/>
                <a:gd name="connsiteY2" fmla="*/ 13986 h 224909"/>
                <a:gd name="connsiteX3" fmla="*/ 102047 w 204093"/>
                <a:gd name="connsiteY3" fmla="*/ 0 h 224909"/>
                <a:gd name="connsiteX4" fmla="*/ 48298 w 204093"/>
                <a:gd name="connsiteY4" fmla="*/ 13986 h 224909"/>
                <a:gd name="connsiteX5" fmla="*/ 12677 w 204093"/>
                <a:gd name="connsiteY5" fmla="*/ 53424 h 224909"/>
                <a:gd name="connsiteX6" fmla="*/ 0 w 204093"/>
                <a:gd name="connsiteY6" fmla="*/ 112644 h 224909"/>
                <a:gd name="connsiteX7" fmla="*/ 12677 w 204093"/>
                <a:gd name="connsiteY7" fmla="*/ 171612 h 224909"/>
                <a:gd name="connsiteX8" fmla="*/ 48298 w 204093"/>
                <a:gd name="connsiteY8" fmla="*/ 210924 h 224909"/>
                <a:gd name="connsiteX9" fmla="*/ 102047 w 204093"/>
                <a:gd name="connsiteY9" fmla="*/ 224910 h 224909"/>
                <a:gd name="connsiteX10" fmla="*/ 155796 w 204093"/>
                <a:gd name="connsiteY10" fmla="*/ 210924 h 224909"/>
                <a:gd name="connsiteX11" fmla="*/ 191417 w 204093"/>
                <a:gd name="connsiteY11" fmla="*/ 171612 h 224909"/>
                <a:gd name="connsiteX12" fmla="*/ 204094 w 204093"/>
                <a:gd name="connsiteY12" fmla="*/ 112644 h 224909"/>
                <a:gd name="connsiteX13" fmla="*/ 154655 w 204093"/>
                <a:gd name="connsiteY13" fmla="*/ 150948 h 224909"/>
                <a:gd name="connsiteX14" fmla="*/ 135133 w 204093"/>
                <a:gd name="connsiteY14" fmla="*/ 178920 h 224909"/>
                <a:gd name="connsiteX15" fmla="*/ 102047 w 204093"/>
                <a:gd name="connsiteY15" fmla="*/ 189378 h 224909"/>
                <a:gd name="connsiteX16" fmla="*/ 68707 w 204093"/>
                <a:gd name="connsiteY16" fmla="*/ 178920 h 224909"/>
                <a:gd name="connsiteX17" fmla="*/ 49185 w 204093"/>
                <a:gd name="connsiteY17" fmla="*/ 150948 h 224909"/>
                <a:gd name="connsiteX18" fmla="*/ 42847 w 204093"/>
                <a:gd name="connsiteY18" fmla="*/ 112518 h 224909"/>
                <a:gd name="connsiteX19" fmla="*/ 49185 w 204093"/>
                <a:gd name="connsiteY19" fmla="*/ 74214 h 224909"/>
                <a:gd name="connsiteX20" fmla="*/ 68707 w 204093"/>
                <a:gd name="connsiteY20" fmla="*/ 46116 h 224909"/>
                <a:gd name="connsiteX21" fmla="*/ 102047 w 204093"/>
                <a:gd name="connsiteY21" fmla="*/ 35532 h 224909"/>
                <a:gd name="connsiteX22" fmla="*/ 135133 w 204093"/>
                <a:gd name="connsiteY22" fmla="*/ 46116 h 224909"/>
                <a:gd name="connsiteX23" fmla="*/ 154655 w 204093"/>
                <a:gd name="connsiteY23" fmla="*/ 74214 h 224909"/>
                <a:gd name="connsiteX24" fmla="*/ 160993 w 204093"/>
                <a:gd name="connsiteY24" fmla="*/ 112518 h 224909"/>
                <a:gd name="connsiteX25" fmla="*/ 154655 w 204093"/>
                <a:gd name="connsiteY25" fmla="*/ 150948 h 22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09">
                  <a:moveTo>
                    <a:pt x="204094" y="112644"/>
                  </a:moveTo>
                  <a:cubicBezTo>
                    <a:pt x="204094" y="90090"/>
                    <a:pt x="199911" y="70308"/>
                    <a:pt x="191417" y="53424"/>
                  </a:cubicBezTo>
                  <a:cubicBezTo>
                    <a:pt x="182924" y="36540"/>
                    <a:pt x="171008" y="23436"/>
                    <a:pt x="155796" y="13986"/>
                  </a:cubicBez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7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4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7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1" y="154854"/>
                    <a:pt x="204094" y="135198"/>
                    <a:pt x="204094" y="112644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10" y="189378"/>
                    <a:pt x="77581" y="185850"/>
                    <a:pt x="68707" y="178920"/>
                  </a:cubicBezTo>
                  <a:cubicBezTo>
                    <a:pt x="59961" y="171990"/>
                    <a:pt x="53369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9" y="62496"/>
                    <a:pt x="59961" y="53172"/>
                    <a:pt x="68707" y="46116"/>
                  </a:cubicBezTo>
                  <a:cubicBezTo>
                    <a:pt x="77454" y="39060"/>
                    <a:pt x="88610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2" name="Freihandform 28">
              <a:extLst>
                <a:ext uri="{FF2B5EF4-FFF2-40B4-BE49-F238E27FC236}">
                  <a16:creationId xmlns:a16="http://schemas.microsoft.com/office/drawing/2014/main" id="{6EFBF79A-4A51-48BF-89A7-AA431ACDE9A8}"/>
                </a:ext>
              </a:extLst>
            </p:cNvPr>
            <p:cNvSpPr/>
            <p:nvPr/>
          </p:nvSpPr>
          <p:spPr bwMode="invGray">
            <a:xfrm>
              <a:off x="1213472" y="376618"/>
              <a:ext cx="25638" cy="48323"/>
            </a:xfrm>
            <a:custGeom>
              <a:avLst/>
              <a:gdLst>
                <a:gd name="connsiteX0" fmla="*/ 41199 w 117258"/>
                <a:gd name="connsiteY0" fmla="*/ 3276 h 221004"/>
                <a:gd name="connsiteX1" fmla="*/ 0 w 117258"/>
                <a:gd name="connsiteY1" fmla="*/ 3276 h 221004"/>
                <a:gd name="connsiteX2" fmla="*/ 0 w 117258"/>
                <a:gd name="connsiteY2" fmla="*/ 221004 h 221004"/>
                <a:gd name="connsiteX3" fmla="*/ 42720 w 117258"/>
                <a:gd name="connsiteY3" fmla="*/ 221004 h 221004"/>
                <a:gd name="connsiteX4" fmla="*/ 42720 w 117258"/>
                <a:gd name="connsiteY4" fmla="*/ 88074 h 221004"/>
                <a:gd name="connsiteX5" fmla="*/ 49565 w 117258"/>
                <a:gd name="connsiteY5" fmla="*/ 62748 h 221004"/>
                <a:gd name="connsiteX6" fmla="*/ 68200 w 117258"/>
                <a:gd name="connsiteY6" fmla="*/ 45360 h 221004"/>
                <a:gd name="connsiteX7" fmla="*/ 95075 w 117258"/>
                <a:gd name="connsiteY7" fmla="*/ 39060 h 221004"/>
                <a:gd name="connsiteX8" fmla="*/ 108132 w 117258"/>
                <a:gd name="connsiteY8" fmla="*/ 39942 h 221004"/>
                <a:gd name="connsiteX9" fmla="*/ 117259 w 117258"/>
                <a:gd name="connsiteY9" fmla="*/ 41580 h 221004"/>
                <a:gd name="connsiteX10" fmla="*/ 117259 w 117258"/>
                <a:gd name="connsiteY10" fmla="*/ 1008 h 221004"/>
                <a:gd name="connsiteX11" fmla="*/ 108638 w 117258"/>
                <a:gd name="connsiteY11" fmla="*/ 252 h 221004"/>
                <a:gd name="connsiteX12" fmla="*/ 99131 w 117258"/>
                <a:gd name="connsiteY12" fmla="*/ 0 h 221004"/>
                <a:gd name="connsiteX13" fmla="*/ 64650 w 117258"/>
                <a:gd name="connsiteY13" fmla="*/ 10080 h 221004"/>
                <a:gd name="connsiteX14" fmla="*/ 43481 w 117258"/>
                <a:gd name="connsiteY14" fmla="*/ 37800 h 221004"/>
                <a:gd name="connsiteX15" fmla="*/ 41199 w 117258"/>
                <a:gd name="connsiteY15" fmla="*/ 37800 h 221004"/>
                <a:gd name="connsiteX16" fmla="*/ 41199 w 117258"/>
                <a:gd name="connsiteY16" fmla="*/ 3276 h 221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4">
                  <a:moveTo>
                    <a:pt x="41199" y="3276"/>
                  </a:move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5" y="62748"/>
                  </a:cubicBezTo>
                  <a:cubicBezTo>
                    <a:pt x="54129" y="55314"/>
                    <a:pt x="60340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1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8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0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3" name="Freihandform 29">
              <a:extLst>
                <a:ext uri="{FF2B5EF4-FFF2-40B4-BE49-F238E27FC236}">
                  <a16:creationId xmlns:a16="http://schemas.microsoft.com/office/drawing/2014/main" id="{87888852-2BFD-4EEE-8AB2-7E8FD59E1AB6}"/>
                </a:ext>
              </a:extLst>
            </p:cNvPr>
            <p:cNvSpPr/>
            <p:nvPr/>
          </p:nvSpPr>
          <p:spPr bwMode="invGray">
            <a:xfrm>
              <a:off x="1266856" y="376728"/>
              <a:ext cx="39857" cy="49314"/>
            </a:xfrm>
            <a:custGeom>
              <a:avLst/>
              <a:gdLst>
                <a:gd name="connsiteX0" fmla="*/ 152627 w 182289"/>
                <a:gd name="connsiteY0" fmla="*/ 14112 h 225539"/>
                <a:gd name="connsiteX1" fmla="*/ 124992 w 182289"/>
                <a:gd name="connsiteY1" fmla="*/ 3024 h 225539"/>
                <a:gd name="connsiteX2" fmla="*/ 97103 w 182289"/>
                <a:gd name="connsiteY2" fmla="*/ 0 h 225539"/>
                <a:gd name="connsiteX3" fmla="*/ 59326 w 182289"/>
                <a:gd name="connsiteY3" fmla="*/ 5544 h 225539"/>
                <a:gd name="connsiteX4" fmla="*/ 27635 w 182289"/>
                <a:gd name="connsiteY4" fmla="*/ 23436 h 225539"/>
                <a:gd name="connsiteX5" fmla="*/ 6719 w 182289"/>
                <a:gd name="connsiteY5" fmla="*/ 55566 h 225539"/>
                <a:gd name="connsiteX6" fmla="*/ 46777 w 182289"/>
                <a:gd name="connsiteY6" fmla="*/ 64638 h 225539"/>
                <a:gd name="connsiteX7" fmla="*/ 63890 w 182289"/>
                <a:gd name="connsiteY7" fmla="*/ 43722 h 225539"/>
                <a:gd name="connsiteX8" fmla="*/ 97737 w 182289"/>
                <a:gd name="connsiteY8" fmla="*/ 34272 h 225539"/>
                <a:gd name="connsiteX9" fmla="*/ 128921 w 182289"/>
                <a:gd name="connsiteY9" fmla="*/ 44478 h 225539"/>
                <a:gd name="connsiteX10" fmla="*/ 139443 w 182289"/>
                <a:gd name="connsiteY10" fmla="*/ 73332 h 225539"/>
                <a:gd name="connsiteX11" fmla="*/ 139443 w 182289"/>
                <a:gd name="connsiteY11" fmla="*/ 74340 h 225539"/>
                <a:gd name="connsiteX12" fmla="*/ 133865 w 182289"/>
                <a:gd name="connsiteY12" fmla="*/ 85428 h 225539"/>
                <a:gd name="connsiteX13" fmla="*/ 115991 w 182289"/>
                <a:gd name="connsiteY13" fmla="*/ 90342 h 225539"/>
                <a:gd name="connsiteX14" fmla="*/ 84046 w 182289"/>
                <a:gd name="connsiteY14" fmla="*/ 94122 h 225539"/>
                <a:gd name="connsiteX15" fmla="*/ 53495 w 182289"/>
                <a:gd name="connsiteY15" fmla="*/ 99540 h 225539"/>
                <a:gd name="connsiteX16" fmla="*/ 26368 w 182289"/>
                <a:gd name="connsiteY16" fmla="*/ 109998 h 225539"/>
                <a:gd name="connsiteX17" fmla="*/ 7099 w 182289"/>
                <a:gd name="connsiteY17" fmla="*/ 128898 h 225539"/>
                <a:gd name="connsiteX18" fmla="*/ 0 w 182289"/>
                <a:gd name="connsiteY18" fmla="*/ 159264 h 225539"/>
                <a:gd name="connsiteX19" fmla="*/ 9761 w 182289"/>
                <a:gd name="connsiteY19" fmla="*/ 195426 h 225539"/>
                <a:gd name="connsiteX20" fmla="*/ 36382 w 182289"/>
                <a:gd name="connsiteY20" fmla="*/ 217854 h 225539"/>
                <a:gd name="connsiteX21" fmla="*/ 74031 w 182289"/>
                <a:gd name="connsiteY21" fmla="*/ 225540 h 225539"/>
                <a:gd name="connsiteX22" fmla="*/ 105089 w 182289"/>
                <a:gd name="connsiteY22" fmla="*/ 220248 h 225539"/>
                <a:gd name="connsiteX23" fmla="*/ 126386 w 182289"/>
                <a:gd name="connsiteY23" fmla="*/ 207018 h 225539"/>
                <a:gd name="connsiteX24" fmla="*/ 138809 w 182289"/>
                <a:gd name="connsiteY24" fmla="*/ 190890 h 225539"/>
                <a:gd name="connsiteX25" fmla="*/ 140584 w 182289"/>
                <a:gd name="connsiteY25" fmla="*/ 190890 h 225539"/>
                <a:gd name="connsiteX26" fmla="*/ 140584 w 182289"/>
                <a:gd name="connsiteY26" fmla="*/ 220626 h 225539"/>
                <a:gd name="connsiteX27" fmla="*/ 182290 w 182289"/>
                <a:gd name="connsiteY27" fmla="*/ 220626 h 225539"/>
                <a:gd name="connsiteX28" fmla="*/ 182290 w 182289"/>
                <a:gd name="connsiteY28" fmla="*/ 75978 h 225539"/>
                <a:gd name="connsiteX29" fmla="*/ 173923 w 182289"/>
                <a:gd name="connsiteY29" fmla="*/ 37170 h 225539"/>
                <a:gd name="connsiteX30" fmla="*/ 152627 w 182289"/>
                <a:gd name="connsiteY30" fmla="*/ 14112 h 225539"/>
                <a:gd name="connsiteX31" fmla="*/ 139443 w 182289"/>
                <a:gd name="connsiteY31" fmla="*/ 142002 h 225539"/>
                <a:gd name="connsiteX32" fmla="*/ 132851 w 182289"/>
                <a:gd name="connsiteY32" fmla="*/ 166194 h 225539"/>
                <a:gd name="connsiteX33" fmla="*/ 113582 w 182289"/>
                <a:gd name="connsiteY33" fmla="*/ 184464 h 225539"/>
                <a:gd name="connsiteX34" fmla="*/ 83285 w 182289"/>
                <a:gd name="connsiteY34" fmla="*/ 191394 h 225539"/>
                <a:gd name="connsiteX35" fmla="*/ 53495 w 182289"/>
                <a:gd name="connsiteY35" fmla="*/ 183330 h 225539"/>
                <a:gd name="connsiteX36" fmla="*/ 41833 w 182289"/>
                <a:gd name="connsiteY36" fmla="*/ 159642 h 225539"/>
                <a:gd name="connsiteX37" fmla="*/ 47918 w 182289"/>
                <a:gd name="connsiteY37" fmla="*/ 141372 h 225539"/>
                <a:gd name="connsiteX38" fmla="*/ 64144 w 182289"/>
                <a:gd name="connsiteY38" fmla="*/ 130788 h 225539"/>
                <a:gd name="connsiteX39" fmla="*/ 86708 w 182289"/>
                <a:gd name="connsiteY39" fmla="*/ 125496 h 225539"/>
                <a:gd name="connsiteX40" fmla="*/ 99892 w 182289"/>
                <a:gd name="connsiteY40" fmla="*/ 123732 h 225539"/>
                <a:gd name="connsiteX41" fmla="*/ 115991 w 182289"/>
                <a:gd name="connsiteY41" fmla="*/ 121338 h 225539"/>
                <a:gd name="connsiteX42" fmla="*/ 130823 w 182289"/>
                <a:gd name="connsiteY42" fmla="*/ 118062 h 225539"/>
                <a:gd name="connsiteX43" fmla="*/ 139570 w 182289"/>
                <a:gd name="connsiteY43" fmla="*/ 113904 h 225539"/>
                <a:gd name="connsiteX44" fmla="*/ 139570 w 182289"/>
                <a:gd name="connsiteY44" fmla="*/ 142002 h 225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82289" h="225539">
                  <a:moveTo>
                    <a:pt x="152627" y="14112"/>
                  </a:moveTo>
                  <a:cubicBezTo>
                    <a:pt x="144007" y="8694"/>
                    <a:pt x="134753" y="5040"/>
                    <a:pt x="124992" y="3024"/>
                  </a:cubicBezTo>
                  <a:cubicBezTo>
                    <a:pt x="115104" y="1008"/>
                    <a:pt x="105850" y="0"/>
                    <a:pt x="97103" y="0"/>
                  </a:cubicBezTo>
                  <a:cubicBezTo>
                    <a:pt x="83919" y="0"/>
                    <a:pt x="71243" y="1890"/>
                    <a:pt x="59326" y="5544"/>
                  </a:cubicBezTo>
                  <a:cubicBezTo>
                    <a:pt x="47411" y="9324"/>
                    <a:pt x="36762" y="15246"/>
                    <a:pt x="27635" y="23436"/>
                  </a:cubicBezTo>
                  <a:cubicBezTo>
                    <a:pt x="18508" y="31626"/>
                    <a:pt x="11536" y="42336"/>
                    <a:pt x="6719" y="55566"/>
                  </a:cubicBezTo>
                  <a:lnTo>
                    <a:pt x="46777" y="64638"/>
                  </a:lnTo>
                  <a:cubicBezTo>
                    <a:pt x="49946" y="56952"/>
                    <a:pt x="55651" y="50022"/>
                    <a:pt x="63890" y="43722"/>
                  </a:cubicBezTo>
                  <a:cubicBezTo>
                    <a:pt x="72130" y="37422"/>
                    <a:pt x="83412" y="34272"/>
                    <a:pt x="97737" y="34272"/>
                  </a:cubicBezTo>
                  <a:cubicBezTo>
                    <a:pt x="111554" y="34272"/>
                    <a:pt x="121949" y="37674"/>
                    <a:pt x="128921" y="44478"/>
                  </a:cubicBezTo>
                  <a:cubicBezTo>
                    <a:pt x="135893" y="51282"/>
                    <a:pt x="139443" y="60858"/>
                    <a:pt x="139443" y="73332"/>
                  </a:cubicBezTo>
                  <a:lnTo>
                    <a:pt x="139443" y="74340"/>
                  </a:lnTo>
                  <a:cubicBezTo>
                    <a:pt x="139443" y="79380"/>
                    <a:pt x="137668" y="83160"/>
                    <a:pt x="133865" y="85428"/>
                  </a:cubicBezTo>
                  <a:cubicBezTo>
                    <a:pt x="130189" y="87696"/>
                    <a:pt x="124231" y="89334"/>
                    <a:pt x="115991" y="90342"/>
                  </a:cubicBezTo>
                  <a:cubicBezTo>
                    <a:pt x="107751" y="91350"/>
                    <a:pt x="97103" y="92610"/>
                    <a:pt x="84046" y="94122"/>
                  </a:cubicBezTo>
                  <a:cubicBezTo>
                    <a:pt x="73651" y="95382"/>
                    <a:pt x="63510" y="97146"/>
                    <a:pt x="53495" y="99540"/>
                  </a:cubicBezTo>
                  <a:cubicBezTo>
                    <a:pt x="43481" y="101934"/>
                    <a:pt x="34480" y="105462"/>
                    <a:pt x="26368" y="109998"/>
                  </a:cubicBezTo>
                  <a:cubicBezTo>
                    <a:pt x="18254" y="114660"/>
                    <a:pt x="11916" y="120960"/>
                    <a:pt x="7099" y="128898"/>
                  </a:cubicBezTo>
                  <a:cubicBezTo>
                    <a:pt x="2409" y="136836"/>
                    <a:pt x="0" y="146916"/>
                    <a:pt x="0" y="159264"/>
                  </a:cubicBezTo>
                  <a:cubicBezTo>
                    <a:pt x="0" y="173502"/>
                    <a:pt x="3296" y="185598"/>
                    <a:pt x="9761" y="195426"/>
                  </a:cubicBezTo>
                  <a:cubicBezTo>
                    <a:pt x="16226" y="205254"/>
                    <a:pt x="25100" y="212688"/>
                    <a:pt x="36382" y="217854"/>
                  </a:cubicBezTo>
                  <a:cubicBezTo>
                    <a:pt x="47664" y="223020"/>
                    <a:pt x="60087" y="225540"/>
                    <a:pt x="74031" y="225540"/>
                  </a:cubicBezTo>
                  <a:cubicBezTo>
                    <a:pt x="86074" y="225540"/>
                    <a:pt x="96469" y="223776"/>
                    <a:pt x="105089" y="220248"/>
                  </a:cubicBezTo>
                  <a:cubicBezTo>
                    <a:pt x="113709" y="216720"/>
                    <a:pt x="120808" y="212310"/>
                    <a:pt x="126386" y="207018"/>
                  </a:cubicBezTo>
                  <a:cubicBezTo>
                    <a:pt x="131837" y="201726"/>
                    <a:pt x="136020" y="196308"/>
                    <a:pt x="138809" y="190890"/>
                  </a:cubicBezTo>
                  <a:lnTo>
                    <a:pt x="140584" y="190890"/>
                  </a:lnTo>
                  <a:lnTo>
                    <a:pt x="140584" y="220626"/>
                  </a:lnTo>
                  <a:lnTo>
                    <a:pt x="182290" y="220626"/>
                  </a:lnTo>
                  <a:lnTo>
                    <a:pt x="182290" y="75978"/>
                  </a:lnTo>
                  <a:cubicBezTo>
                    <a:pt x="182290" y="60102"/>
                    <a:pt x="179501" y="47124"/>
                    <a:pt x="173923" y="37170"/>
                  </a:cubicBezTo>
                  <a:cubicBezTo>
                    <a:pt x="168219" y="27216"/>
                    <a:pt x="161247" y="19530"/>
                    <a:pt x="152627" y="14112"/>
                  </a:cubicBezTo>
                  <a:close/>
                  <a:moveTo>
                    <a:pt x="139443" y="142002"/>
                  </a:moveTo>
                  <a:cubicBezTo>
                    <a:pt x="139443" y="150570"/>
                    <a:pt x="137161" y="158634"/>
                    <a:pt x="132851" y="166194"/>
                  </a:cubicBezTo>
                  <a:cubicBezTo>
                    <a:pt x="128414" y="173754"/>
                    <a:pt x="122076" y="179802"/>
                    <a:pt x="113582" y="184464"/>
                  </a:cubicBezTo>
                  <a:cubicBezTo>
                    <a:pt x="105216" y="189126"/>
                    <a:pt x="95075" y="191394"/>
                    <a:pt x="83285" y="191394"/>
                  </a:cubicBezTo>
                  <a:cubicBezTo>
                    <a:pt x="71243" y="191394"/>
                    <a:pt x="61228" y="188748"/>
                    <a:pt x="53495" y="183330"/>
                  </a:cubicBezTo>
                  <a:cubicBezTo>
                    <a:pt x="45636" y="178038"/>
                    <a:pt x="41833" y="170100"/>
                    <a:pt x="41833" y="159642"/>
                  </a:cubicBezTo>
                  <a:cubicBezTo>
                    <a:pt x="41833" y="152082"/>
                    <a:pt x="43861" y="146034"/>
                    <a:pt x="47918" y="141372"/>
                  </a:cubicBezTo>
                  <a:cubicBezTo>
                    <a:pt x="51974" y="136836"/>
                    <a:pt x="57425" y="133308"/>
                    <a:pt x="64144" y="130788"/>
                  </a:cubicBezTo>
                  <a:cubicBezTo>
                    <a:pt x="70989" y="128394"/>
                    <a:pt x="78468" y="126630"/>
                    <a:pt x="86708" y="125496"/>
                  </a:cubicBezTo>
                  <a:cubicBezTo>
                    <a:pt x="90257" y="124992"/>
                    <a:pt x="94567" y="124488"/>
                    <a:pt x="99892" y="123732"/>
                  </a:cubicBezTo>
                  <a:cubicBezTo>
                    <a:pt x="105089" y="122976"/>
                    <a:pt x="110540" y="122220"/>
                    <a:pt x="115991" y="121338"/>
                  </a:cubicBezTo>
                  <a:cubicBezTo>
                    <a:pt x="121442" y="120456"/>
                    <a:pt x="126386" y="119322"/>
                    <a:pt x="130823" y="118062"/>
                  </a:cubicBezTo>
                  <a:cubicBezTo>
                    <a:pt x="135133" y="116802"/>
                    <a:pt x="138049" y="115416"/>
                    <a:pt x="139570" y="113904"/>
                  </a:cubicBezTo>
                  <a:lnTo>
                    <a:pt x="139570" y="14200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4" name="Freihandform 30">
              <a:extLst>
                <a:ext uri="{FF2B5EF4-FFF2-40B4-BE49-F238E27FC236}">
                  <a16:creationId xmlns:a16="http://schemas.microsoft.com/office/drawing/2014/main" id="{4CD6FB8B-DE54-4690-B9D4-F6C26DA2CE2C}"/>
                </a:ext>
              </a:extLst>
            </p:cNvPr>
            <p:cNvSpPr/>
            <p:nvPr/>
          </p:nvSpPr>
          <p:spPr bwMode="invGray">
            <a:xfrm>
              <a:off x="1341693" y="361466"/>
              <a:ext cx="43766" cy="64412"/>
            </a:xfrm>
            <a:custGeom>
              <a:avLst/>
              <a:gdLst>
                <a:gd name="connsiteX0" fmla="*/ 155415 w 200163"/>
                <a:gd name="connsiteY0" fmla="*/ 83034 h 294588"/>
                <a:gd name="connsiteX1" fmla="*/ 108132 w 200163"/>
                <a:gd name="connsiteY1" fmla="*/ 69678 h 294588"/>
                <a:gd name="connsiteX2" fmla="*/ 75299 w 200163"/>
                <a:gd name="connsiteY2" fmla="*/ 76356 h 294588"/>
                <a:gd name="connsiteX3" fmla="*/ 55904 w 200163"/>
                <a:gd name="connsiteY3" fmla="*/ 91980 h 294588"/>
                <a:gd name="connsiteX4" fmla="*/ 45129 w 200163"/>
                <a:gd name="connsiteY4" fmla="*/ 107730 h 294588"/>
                <a:gd name="connsiteX5" fmla="*/ 42594 w 200163"/>
                <a:gd name="connsiteY5" fmla="*/ 107730 h 294588"/>
                <a:gd name="connsiteX6" fmla="*/ 42594 w 200163"/>
                <a:gd name="connsiteY6" fmla="*/ 0 h 294588"/>
                <a:gd name="connsiteX7" fmla="*/ 0 w 200163"/>
                <a:gd name="connsiteY7" fmla="*/ 0 h 294588"/>
                <a:gd name="connsiteX8" fmla="*/ 0 w 200163"/>
                <a:gd name="connsiteY8" fmla="*/ 290304 h 294588"/>
                <a:gd name="connsiteX9" fmla="*/ 41579 w 200163"/>
                <a:gd name="connsiteY9" fmla="*/ 290304 h 294588"/>
                <a:gd name="connsiteX10" fmla="*/ 41579 w 200163"/>
                <a:gd name="connsiteY10" fmla="*/ 256410 h 294588"/>
                <a:gd name="connsiteX11" fmla="*/ 45129 w 200163"/>
                <a:gd name="connsiteY11" fmla="*/ 256410 h 294588"/>
                <a:gd name="connsiteX12" fmla="*/ 56157 w 200163"/>
                <a:gd name="connsiteY12" fmla="*/ 272286 h 294588"/>
                <a:gd name="connsiteX13" fmla="*/ 75933 w 200163"/>
                <a:gd name="connsiteY13" fmla="*/ 287910 h 294588"/>
                <a:gd name="connsiteX14" fmla="*/ 108512 w 200163"/>
                <a:gd name="connsiteY14" fmla="*/ 294588 h 294588"/>
                <a:gd name="connsiteX15" fmla="*/ 155796 w 200163"/>
                <a:gd name="connsiteY15" fmla="*/ 281106 h 294588"/>
                <a:gd name="connsiteX16" fmla="*/ 188375 w 200163"/>
                <a:gd name="connsiteY16" fmla="*/ 242424 h 294588"/>
                <a:gd name="connsiteX17" fmla="*/ 200164 w 200163"/>
                <a:gd name="connsiteY17" fmla="*/ 181944 h 294588"/>
                <a:gd name="connsiteX18" fmla="*/ 188248 w 200163"/>
                <a:gd name="connsiteY18" fmla="*/ 121590 h 294588"/>
                <a:gd name="connsiteX19" fmla="*/ 155415 w 200163"/>
                <a:gd name="connsiteY19" fmla="*/ 83034 h 294588"/>
                <a:gd name="connsiteX20" fmla="*/ 150345 w 200163"/>
                <a:gd name="connsiteY20" fmla="*/ 220752 h 294588"/>
                <a:gd name="connsiteX21" fmla="*/ 130823 w 200163"/>
                <a:gd name="connsiteY21" fmla="*/ 248346 h 294588"/>
                <a:gd name="connsiteX22" fmla="*/ 98878 w 200163"/>
                <a:gd name="connsiteY22" fmla="*/ 258426 h 294588"/>
                <a:gd name="connsiteX23" fmla="*/ 67820 w 200163"/>
                <a:gd name="connsiteY23" fmla="*/ 248724 h 294588"/>
                <a:gd name="connsiteX24" fmla="*/ 48425 w 200163"/>
                <a:gd name="connsiteY24" fmla="*/ 221760 h 294588"/>
                <a:gd name="connsiteX25" fmla="*/ 41706 w 200163"/>
                <a:gd name="connsiteY25" fmla="*/ 181440 h 294588"/>
                <a:gd name="connsiteX26" fmla="*/ 48298 w 200163"/>
                <a:gd name="connsiteY26" fmla="*/ 141750 h 294588"/>
                <a:gd name="connsiteX27" fmla="*/ 67567 w 200163"/>
                <a:gd name="connsiteY27" fmla="*/ 115290 h 294588"/>
                <a:gd name="connsiteX28" fmla="*/ 98878 w 200163"/>
                <a:gd name="connsiteY28" fmla="*/ 105840 h 294588"/>
                <a:gd name="connsiteX29" fmla="*/ 131076 w 200163"/>
                <a:gd name="connsiteY29" fmla="*/ 115794 h 294588"/>
                <a:gd name="connsiteX30" fmla="*/ 150471 w 200163"/>
                <a:gd name="connsiteY30" fmla="*/ 142884 h 294588"/>
                <a:gd name="connsiteX31" fmla="*/ 156937 w 200163"/>
                <a:gd name="connsiteY31" fmla="*/ 181566 h 294588"/>
                <a:gd name="connsiteX32" fmla="*/ 150345 w 200163"/>
                <a:gd name="connsiteY32" fmla="*/ 220752 h 29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163" h="294588">
                  <a:moveTo>
                    <a:pt x="155415" y="83034"/>
                  </a:moveTo>
                  <a:cubicBezTo>
                    <a:pt x="141598" y="74214"/>
                    <a:pt x="125752" y="69678"/>
                    <a:pt x="108132" y="69678"/>
                  </a:cubicBezTo>
                  <a:cubicBezTo>
                    <a:pt x="94567" y="69678"/>
                    <a:pt x="83539" y="71946"/>
                    <a:pt x="75299" y="76356"/>
                  </a:cubicBezTo>
                  <a:cubicBezTo>
                    <a:pt x="66933" y="80892"/>
                    <a:pt x="60468" y="86058"/>
                    <a:pt x="55904" y="91980"/>
                  </a:cubicBezTo>
                  <a:cubicBezTo>
                    <a:pt x="51214" y="97902"/>
                    <a:pt x="47664" y="103194"/>
                    <a:pt x="45129" y="107730"/>
                  </a:cubicBezTo>
                  <a:lnTo>
                    <a:pt x="42594" y="107730"/>
                  </a:lnTo>
                  <a:lnTo>
                    <a:pt x="42594" y="0"/>
                  </a:lnTo>
                  <a:lnTo>
                    <a:pt x="0" y="0"/>
                  </a:lnTo>
                  <a:lnTo>
                    <a:pt x="0" y="290304"/>
                  </a:lnTo>
                  <a:lnTo>
                    <a:pt x="41579" y="290304"/>
                  </a:lnTo>
                  <a:lnTo>
                    <a:pt x="41579" y="256410"/>
                  </a:lnTo>
                  <a:lnTo>
                    <a:pt x="45129" y="256410"/>
                  </a:lnTo>
                  <a:cubicBezTo>
                    <a:pt x="47664" y="261072"/>
                    <a:pt x="51341" y="266364"/>
                    <a:pt x="56157" y="272286"/>
                  </a:cubicBezTo>
                  <a:cubicBezTo>
                    <a:pt x="60848" y="278208"/>
                    <a:pt x="67567" y="283500"/>
                    <a:pt x="75933" y="287910"/>
                  </a:cubicBezTo>
                  <a:cubicBezTo>
                    <a:pt x="84299" y="292320"/>
                    <a:pt x="95202" y="294588"/>
                    <a:pt x="108512" y="294588"/>
                  </a:cubicBezTo>
                  <a:cubicBezTo>
                    <a:pt x="126133" y="294588"/>
                    <a:pt x="141978" y="290052"/>
                    <a:pt x="155796" y="281106"/>
                  </a:cubicBezTo>
                  <a:cubicBezTo>
                    <a:pt x="169613" y="272034"/>
                    <a:pt x="180388" y="259182"/>
                    <a:pt x="188375" y="242424"/>
                  </a:cubicBezTo>
                  <a:cubicBezTo>
                    <a:pt x="196234" y="225666"/>
                    <a:pt x="200164" y="205506"/>
                    <a:pt x="200164" y="181944"/>
                  </a:cubicBezTo>
                  <a:cubicBezTo>
                    <a:pt x="200164" y="158382"/>
                    <a:pt x="196234" y="138222"/>
                    <a:pt x="188248" y="121590"/>
                  </a:cubicBezTo>
                  <a:cubicBezTo>
                    <a:pt x="180262" y="104832"/>
                    <a:pt x="169360" y="91980"/>
                    <a:pt x="155415" y="83034"/>
                  </a:cubicBezTo>
                  <a:close/>
                  <a:moveTo>
                    <a:pt x="150345" y="220752"/>
                  </a:moveTo>
                  <a:cubicBezTo>
                    <a:pt x="145908" y="232344"/>
                    <a:pt x="139443" y="241542"/>
                    <a:pt x="130823" y="248346"/>
                  </a:cubicBezTo>
                  <a:cubicBezTo>
                    <a:pt x="122329" y="255150"/>
                    <a:pt x="111554" y="258426"/>
                    <a:pt x="98878" y="258426"/>
                  </a:cubicBezTo>
                  <a:cubicBezTo>
                    <a:pt x="86582" y="258426"/>
                    <a:pt x="76313" y="255150"/>
                    <a:pt x="67820" y="248724"/>
                  </a:cubicBezTo>
                  <a:cubicBezTo>
                    <a:pt x="59326" y="242298"/>
                    <a:pt x="52862" y="233226"/>
                    <a:pt x="48425" y="221760"/>
                  </a:cubicBezTo>
                  <a:cubicBezTo>
                    <a:pt x="43988" y="210294"/>
                    <a:pt x="41706" y="196812"/>
                    <a:pt x="41706" y="181440"/>
                  </a:cubicBezTo>
                  <a:cubicBezTo>
                    <a:pt x="41706" y="166320"/>
                    <a:pt x="43861" y="153090"/>
                    <a:pt x="48298" y="141750"/>
                  </a:cubicBezTo>
                  <a:cubicBezTo>
                    <a:pt x="52608" y="130410"/>
                    <a:pt x="59073" y="121590"/>
                    <a:pt x="67567" y="115290"/>
                  </a:cubicBezTo>
                  <a:cubicBezTo>
                    <a:pt x="76060" y="108990"/>
                    <a:pt x="86455" y="105840"/>
                    <a:pt x="98878" y="105840"/>
                  </a:cubicBezTo>
                  <a:cubicBezTo>
                    <a:pt x="111681" y="105840"/>
                    <a:pt x="122456" y="109116"/>
                    <a:pt x="131076" y="115794"/>
                  </a:cubicBezTo>
                  <a:cubicBezTo>
                    <a:pt x="139697" y="122472"/>
                    <a:pt x="146161" y="131418"/>
                    <a:pt x="150471" y="142884"/>
                  </a:cubicBezTo>
                  <a:cubicBezTo>
                    <a:pt x="154781" y="154350"/>
                    <a:pt x="156937" y="167202"/>
                    <a:pt x="156937" y="181566"/>
                  </a:cubicBezTo>
                  <a:cubicBezTo>
                    <a:pt x="156937" y="196056"/>
                    <a:pt x="154781" y="209160"/>
                    <a:pt x="150345" y="2207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5" name="Freihandform 31">
              <a:extLst>
                <a:ext uri="{FF2B5EF4-FFF2-40B4-BE49-F238E27FC236}">
                  <a16:creationId xmlns:a16="http://schemas.microsoft.com/office/drawing/2014/main" id="{0776F73C-2EA7-438E-9F38-7669ABC7897E}"/>
                </a:ext>
              </a:extLst>
            </p:cNvPr>
            <p:cNvSpPr/>
            <p:nvPr/>
          </p:nvSpPr>
          <p:spPr bwMode="invGray">
            <a:xfrm>
              <a:off x="1393026" y="376728"/>
              <a:ext cx="43378" cy="49204"/>
            </a:xfrm>
            <a:custGeom>
              <a:avLst/>
              <a:gdLst>
                <a:gd name="connsiteX0" fmla="*/ 168472 w 198388"/>
                <a:gd name="connsiteY0" fmla="*/ 25200 h 225035"/>
                <a:gd name="connsiteX1" fmla="*/ 137288 w 198388"/>
                <a:gd name="connsiteY1" fmla="*/ 6048 h 225035"/>
                <a:gd name="connsiteX2" fmla="*/ 101286 w 198388"/>
                <a:gd name="connsiteY2" fmla="*/ 0 h 225035"/>
                <a:gd name="connsiteX3" fmla="*/ 48044 w 198388"/>
                <a:gd name="connsiteY3" fmla="*/ 14364 h 225035"/>
                <a:gd name="connsiteX4" fmla="*/ 12677 w 198388"/>
                <a:gd name="connsiteY4" fmla="*/ 54180 h 225035"/>
                <a:gd name="connsiteX5" fmla="*/ 0 w 198388"/>
                <a:gd name="connsiteY5" fmla="*/ 113148 h 225035"/>
                <a:gd name="connsiteX6" fmla="*/ 12677 w 198388"/>
                <a:gd name="connsiteY6" fmla="*/ 172242 h 225035"/>
                <a:gd name="connsiteX7" fmla="*/ 48551 w 198388"/>
                <a:gd name="connsiteY7" fmla="*/ 211176 h 225035"/>
                <a:gd name="connsiteX8" fmla="*/ 104328 w 198388"/>
                <a:gd name="connsiteY8" fmla="*/ 225036 h 225035"/>
                <a:gd name="connsiteX9" fmla="*/ 147048 w 198388"/>
                <a:gd name="connsiteY9" fmla="*/ 217728 h 225035"/>
                <a:gd name="connsiteX10" fmla="*/ 178233 w 198388"/>
                <a:gd name="connsiteY10" fmla="*/ 197190 h 225035"/>
                <a:gd name="connsiteX11" fmla="*/ 195600 w 198388"/>
                <a:gd name="connsiteY11" fmla="*/ 166194 h 225035"/>
                <a:gd name="connsiteX12" fmla="*/ 155289 w 198388"/>
                <a:gd name="connsiteY12" fmla="*/ 159012 h 225035"/>
                <a:gd name="connsiteX13" fmla="*/ 144133 w 198388"/>
                <a:gd name="connsiteY13" fmla="*/ 176148 h 225035"/>
                <a:gd name="connsiteX14" fmla="*/ 126893 w 198388"/>
                <a:gd name="connsiteY14" fmla="*/ 186606 h 225035"/>
                <a:gd name="connsiteX15" fmla="*/ 104835 w 198388"/>
                <a:gd name="connsiteY15" fmla="*/ 190134 h 225035"/>
                <a:gd name="connsiteX16" fmla="*/ 72130 w 198388"/>
                <a:gd name="connsiteY16" fmla="*/ 182070 h 225035"/>
                <a:gd name="connsiteX17" fmla="*/ 50453 w 198388"/>
                <a:gd name="connsiteY17" fmla="*/ 158760 h 225035"/>
                <a:gd name="connsiteX18" fmla="*/ 42974 w 198388"/>
                <a:gd name="connsiteY18" fmla="*/ 124614 h 225035"/>
                <a:gd name="connsiteX19" fmla="*/ 198389 w 198388"/>
                <a:gd name="connsiteY19" fmla="*/ 124614 h 225035"/>
                <a:gd name="connsiteX20" fmla="*/ 198389 w 198388"/>
                <a:gd name="connsiteY20" fmla="*/ 109620 h 225035"/>
                <a:gd name="connsiteX21" fmla="*/ 190403 w 198388"/>
                <a:gd name="connsiteY21" fmla="*/ 59220 h 225035"/>
                <a:gd name="connsiteX22" fmla="*/ 168472 w 198388"/>
                <a:gd name="connsiteY22" fmla="*/ 25200 h 225035"/>
                <a:gd name="connsiteX23" fmla="*/ 42974 w 198388"/>
                <a:gd name="connsiteY23" fmla="*/ 92736 h 225035"/>
                <a:gd name="connsiteX24" fmla="*/ 49692 w 198388"/>
                <a:gd name="connsiteY24" fmla="*/ 66402 h 225035"/>
                <a:gd name="connsiteX25" fmla="*/ 70228 w 198388"/>
                <a:gd name="connsiteY25" fmla="*/ 43722 h 225035"/>
                <a:gd name="connsiteX26" fmla="*/ 101539 w 198388"/>
                <a:gd name="connsiteY26" fmla="*/ 35028 h 225035"/>
                <a:gd name="connsiteX27" fmla="*/ 130442 w 198388"/>
                <a:gd name="connsiteY27" fmla="*/ 42588 h 225035"/>
                <a:gd name="connsiteX28" fmla="*/ 149584 w 198388"/>
                <a:gd name="connsiteY28" fmla="*/ 63126 h 225035"/>
                <a:gd name="connsiteX29" fmla="*/ 156429 w 198388"/>
                <a:gd name="connsiteY29" fmla="*/ 92862 h 225035"/>
                <a:gd name="connsiteX30" fmla="*/ 42974 w 198388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8" h="225035">
                  <a:moveTo>
                    <a:pt x="168472" y="25200"/>
                  </a:move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1043" y="189000"/>
                    <a:pt x="33086" y="201978"/>
                    <a:pt x="48551" y="211176"/>
                  </a:cubicBezTo>
                  <a:cubicBezTo>
                    <a:pt x="64144" y="220374"/>
                    <a:pt x="82651" y="225036"/>
                    <a:pt x="104328" y="225036"/>
                  </a:cubicBezTo>
                  <a:cubicBezTo>
                    <a:pt x="120301" y="225036"/>
                    <a:pt x="134499" y="222642"/>
                    <a:pt x="147048" y="217728"/>
                  </a:cubicBezTo>
                  <a:cubicBezTo>
                    <a:pt x="159599" y="212814"/>
                    <a:pt x="169993" y="206010"/>
                    <a:pt x="178233" y="197190"/>
                  </a:cubicBezTo>
                  <a:cubicBezTo>
                    <a:pt x="186600" y="188370"/>
                    <a:pt x="192304" y="178038"/>
                    <a:pt x="195600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5" y="190134"/>
                  </a:cubicBezTo>
                  <a:cubicBezTo>
                    <a:pt x="92412" y="190134"/>
                    <a:pt x="81511" y="187488"/>
                    <a:pt x="72130" y="182070"/>
                  </a:cubicBezTo>
                  <a:cubicBezTo>
                    <a:pt x="62876" y="176778"/>
                    <a:pt x="55523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2" y="66402"/>
                  </a:cubicBezTo>
                  <a:cubicBezTo>
                    <a:pt x="54509" y="57078"/>
                    <a:pt x="61355" y="49518"/>
                    <a:pt x="70228" y="43722"/>
                  </a:cubicBezTo>
                  <a:cubicBezTo>
                    <a:pt x="79102" y="37926"/>
                    <a:pt x="89497" y="35028"/>
                    <a:pt x="101539" y="35028"/>
                  </a:cubicBezTo>
                  <a:cubicBezTo>
                    <a:pt x="112568" y="35028"/>
                    <a:pt x="122202" y="37548"/>
                    <a:pt x="130442" y="42588"/>
                  </a:cubicBezTo>
                  <a:cubicBezTo>
                    <a:pt x="138682" y="47628"/>
                    <a:pt x="145020" y="54432"/>
                    <a:pt x="149584" y="63126"/>
                  </a:cubicBezTo>
                  <a:cubicBezTo>
                    <a:pt x="154147" y="71820"/>
                    <a:pt x="156429" y="81648"/>
                    <a:pt x="156429" y="92862"/>
                  </a:cubicBezTo>
                  <a:lnTo>
                    <a:pt x="42974" y="9286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6" name="Freihandform 32">
              <a:extLst>
                <a:ext uri="{FF2B5EF4-FFF2-40B4-BE49-F238E27FC236}">
                  <a16:creationId xmlns:a16="http://schemas.microsoft.com/office/drawing/2014/main" id="{96A47144-B517-4D9E-9D34-8B4529613420}"/>
                </a:ext>
              </a:extLst>
            </p:cNvPr>
            <p:cNvSpPr/>
            <p:nvPr/>
          </p:nvSpPr>
          <p:spPr bwMode="invGray">
            <a:xfrm>
              <a:off x="144225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3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3 w 123723"/>
                <a:gd name="connsiteY16" fmla="*/ 247590 h 272810"/>
                <a:gd name="connsiteX17" fmla="*/ 64651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8" y="234738"/>
                    <a:pt x="104456" y="234990"/>
                    <a:pt x="101033" y="234990"/>
                  </a:cubicBezTo>
                  <a:cubicBezTo>
                    <a:pt x="96342" y="234990"/>
                    <a:pt x="92032" y="234234"/>
                    <a:pt x="88103" y="232848"/>
                  </a:cubicBezTo>
                  <a:cubicBezTo>
                    <a:pt x="84173" y="231336"/>
                    <a:pt x="81004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3" y="247590"/>
                  </a:cubicBezTo>
                  <a:cubicBezTo>
                    <a:pt x="47031" y="256284"/>
                    <a:pt x="54890" y="262710"/>
                    <a:pt x="64651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9" y="272160"/>
                    <a:pt x="113202" y="271152"/>
                  </a:cubicBezTo>
                  <a:cubicBezTo>
                    <a:pt x="117766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7" y="233352"/>
                    <a:pt x="112568" y="233730"/>
                    <a:pt x="110033" y="234234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7" name="Freihandform 33">
              <a:extLst>
                <a:ext uri="{FF2B5EF4-FFF2-40B4-BE49-F238E27FC236}">
                  <a16:creationId xmlns:a16="http://schemas.microsoft.com/office/drawing/2014/main" id="{6675D025-AB85-467D-AF5E-E67FCC064833}"/>
                </a:ext>
              </a:extLst>
            </p:cNvPr>
            <p:cNvSpPr/>
            <p:nvPr/>
          </p:nvSpPr>
          <p:spPr bwMode="invGray">
            <a:xfrm>
              <a:off x="147418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2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2 w 123723"/>
                <a:gd name="connsiteY16" fmla="*/ 247590 h 272810"/>
                <a:gd name="connsiteX17" fmla="*/ 64650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7" y="234738"/>
                    <a:pt x="104455" y="234990"/>
                    <a:pt x="101033" y="234990"/>
                  </a:cubicBezTo>
                  <a:cubicBezTo>
                    <a:pt x="96342" y="234990"/>
                    <a:pt x="92032" y="234234"/>
                    <a:pt x="88102" y="232848"/>
                  </a:cubicBezTo>
                  <a:cubicBezTo>
                    <a:pt x="84173" y="231336"/>
                    <a:pt x="81003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2" y="247590"/>
                  </a:cubicBezTo>
                  <a:cubicBezTo>
                    <a:pt x="47030" y="256284"/>
                    <a:pt x="54890" y="262710"/>
                    <a:pt x="64650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8" y="272160"/>
                    <a:pt x="113202" y="271152"/>
                  </a:cubicBezTo>
                  <a:cubicBezTo>
                    <a:pt x="117765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6" y="233352"/>
                    <a:pt x="112695" y="233730"/>
                    <a:pt x="110033" y="234234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8" name="Freihandform 34">
              <a:extLst>
                <a:ext uri="{FF2B5EF4-FFF2-40B4-BE49-F238E27FC236}">
                  <a16:creationId xmlns:a16="http://schemas.microsoft.com/office/drawing/2014/main" id="{AB95B676-DB6F-411F-BA1D-501D07F12161}"/>
                </a:ext>
              </a:extLst>
            </p:cNvPr>
            <p:cNvSpPr/>
            <p:nvPr/>
          </p:nvSpPr>
          <p:spPr bwMode="invGray">
            <a:xfrm>
              <a:off x="1507803" y="376728"/>
              <a:ext cx="43378" cy="49204"/>
            </a:xfrm>
            <a:custGeom>
              <a:avLst/>
              <a:gdLst>
                <a:gd name="connsiteX0" fmla="*/ 168472 w 198389"/>
                <a:gd name="connsiteY0" fmla="*/ 25200 h 225035"/>
                <a:gd name="connsiteX1" fmla="*/ 137288 w 198389"/>
                <a:gd name="connsiteY1" fmla="*/ 6048 h 225035"/>
                <a:gd name="connsiteX2" fmla="*/ 101286 w 198389"/>
                <a:gd name="connsiteY2" fmla="*/ 0 h 225035"/>
                <a:gd name="connsiteX3" fmla="*/ 48044 w 198389"/>
                <a:gd name="connsiteY3" fmla="*/ 14364 h 225035"/>
                <a:gd name="connsiteX4" fmla="*/ 12677 w 198389"/>
                <a:gd name="connsiteY4" fmla="*/ 54180 h 225035"/>
                <a:gd name="connsiteX5" fmla="*/ 0 w 198389"/>
                <a:gd name="connsiteY5" fmla="*/ 113148 h 225035"/>
                <a:gd name="connsiteX6" fmla="*/ 12677 w 198389"/>
                <a:gd name="connsiteY6" fmla="*/ 172242 h 225035"/>
                <a:gd name="connsiteX7" fmla="*/ 48552 w 198389"/>
                <a:gd name="connsiteY7" fmla="*/ 211176 h 225035"/>
                <a:gd name="connsiteX8" fmla="*/ 104329 w 198389"/>
                <a:gd name="connsiteY8" fmla="*/ 225036 h 225035"/>
                <a:gd name="connsiteX9" fmla="*/ 147049 w 198389"/>
                <a:gd name="connsiteY9" fmla="*/ 217728 h 225035"/>
                <a:gd name="connsiteX10" fmla="*/ 178234 w 198389"/>
                <a:gd name="connsiteY10" fmla="*/ 197190 h 225035"/>
                <a:gd name="connsiteX11" fmla="*/ 195601 w 198389"/>
                <a:gd name="connsiteY11" fmla="*/ 166194 h 225035"/>
                <a:gd name="connsiteX12" fmla="*/ 155289 w 198389"/>
                <a:gd name="connsiteY12" fmla="*/ 159012 h 225035"/>
                <a:gd name="connsiteX13" fmla="*/ 144133 w 198389"/>
                <a:gd name="connsiteY13" fmla="*/ 176148 h 225035"/>
                <a:gd name="connsiteX14" fmla="*/ 126893 w 198389"/>
                <a:gd name="connsiteY14" fmla="*/ 186606 h 225035"/>
                <a:gd name="connsiteX15" fmla="*/ 104836 w 198389"/>
                <a:gd name="connsiteY15" fmla="*/ 190134 h 225035"/>
                <a:gd name="connsiteX16" fmla="*/ 72130 w 198389"/>
                <a:gd name="connsiteY16" fmla="*/ 182070 h 225035"/>
                <a:gd name="connsiteX17" fmla="*/ 50453 w 198389"/>
                <a:gd name="connsiteY17" fmla="*/ 158760 h 225035"/>
                <a:gd name="connsiteX18" fmla="*/ 42974 w 198389"/>
                <a:gd name="connsiteY18" fmla="*/ 124614 h 225035"/>
                <a:gd name="connsiteX19" fmla="*/ 198389 w 198389"/>
                <a:gd name="connsiteY19" fmla="*/ 124614 h 225035"/>
                <a:gd name="connsiteX20" fmla="*/ 198389 w 198389"/>
                <a:gd name="connsiteY20" fmla="*/ 109620 h 225035"/>
                <a:gd name="connsiteX21" fmla="*/ 190403 w 198389"/>
                <a:gd name="connsiteY21" fmla="*/ 59220 h 225035"/>
                <a:gd name="connsiteX22" fmla="*/ 168472 w 198389"/>
                <a:gd name="connsiteY22" fmla="*/ 25200 h 225035"/>
                <a:gd name="connsiteX23" fmla="*/ 42974 w 198389"/>
                <a:gd name="connsiteY23" fmla="*/ 92736 h 225035"/>
                <a:gd name="connsiteX24" fmla="*/ 49693 w 198389"/>
                <a:gd name="connsiteY24" fmla="*/ 66402 h 225035"/>
                <a:gd name="connsiteX25" fmla="*/ 70229 w 198389"/>
                <a:gd name="connsiteY25" fmla="*/ 43722 h 225035"/>
                <a:gd name="connsiteX26" fmla="*/ 101540 w 198389"/>
                <a:gd name="connsiteY26" fmla="*/ 35028 h 225035"/>
                <a:gd name="connsiteX27" fmla="*/ 130443 w 198389"/>
                <a:gd name="connsiteY27" fmla="*/ 42588 h 225035"/>
                <a:gd name="connsiteX28" fmla="*/ 149584 w 198389"/>
                <a:gd name="connsiteY28" fmla="*/ 63126 h 225035"/>
                <a:gd name="connsiteX29" fmla="*/ 156430 w 198389"/>
                <a:gd name="connsiteY29" fmla="*/ 92862 h 225035"/>
                <a:gd name="connsiteX30" fmla="*/ 42974 w 198389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9" h="225035">
                  <a:moveTo>
                    <a:pt x="168472" y="25200"/>
                  </a:move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9000"/>
                    <a:pt x="33086" y="201978"/>
                    <a:pt x="48552" y="211176"/>
                  </a:cubicBezTo>
                  <a:cubicBezTo>
                    <a:pt x="64144" y="220374"/>
                    <a:pt x="82652" y="225036"/>
                    <a:pt x="104329" y="225036"/>
                  </a:cubicBezTo>
                  <a:cubicBezTo>
                    <a:pt x="120301" y="225036"/>
                    <a:pt x="134499" y="222642"/>
                    <a:pt x="147049" y="217728"/>
                  </a:cubicBezTo>
                  <a:cubicBezTo>
                    <a:pt x="159599" y="212814"/>
                    <a:pt x="169993" y="206010"/>
                    <a:pt x="178234" y="197190"/>
                  </a:cubicBezTo>
                  <a:cubicBezTo>
                    <a:pt x="186600" y="188370"/>
                    <a:pt x="192304" y="178038"/>
                    <a:pt x="195601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6" y="190134"/>
                  </a:cubicBezTo>
                  <a:cubicBezTo>
                    <a:pt x="92413" y="190134"/>
                    <a:pt x="81511" y="187488"/>
                    <a:pt x="72130" y="182070"/>
                  </a:cubicBezTo>
                  <a:cubicBezTo>
                    <a:pt x="62876" y="176778"/>
                    <a:pt x="55524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3" y="66402"/>
                  </a:cubicBezTo>
                  <a:cubicBezTo>
                    <a:pt x="54510" y="57078"/>
                    <a:pt x="61355" y="49518"/>
                    <a:pt x="70229" y="43722"/>
                  </a:cubicBezTo>
                  <a:cubicBezTo>
                    <a:pt x="79102" y="37926"/>
                    <a:pt x="89497" y="35028"/>
                    <a:pt x="101540" y="35028"/>
                  </a:cubicBezTo>
                  <a:cubicBezTo>
                    <a:pt x="112568" y="35028"/>
                    <a:pt x="122203" y="37548"/>
                    <a:pt x="130443" y="42588"/>
                  </a:cubicBezTo>
                  <a:cubicBezTo>
                    <a:pt x="138682" y="47628"/>
                    <a:pt x="145021" y="54432"/>
                    <a:pt x="149584" y="63126"/>
                  </a:cubicBezTo>
                  <a:cubicBezTo>
                    <a:pt x="154148" y="71820"/>
                    <a:pt x="156430" y="81648"/>
                    <a:pt x="156430" y="92862"/>
                  </a:cubicBezTo>
                  <a:lnTo>
                    <a:pt x="42974" y="9286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9" name="Freihandform 35">
              <a:extLst>
                <a:ext uri="{FF2B5EF4-FFF2-40B4-BE49-F238E27FC236}">
                  <a16:creationId xmlns:a16="http://schemas.microsoft.com/office/drawing/2014/main" id="{37D4CE77-3FC3-4C90-8C7C-52858E35942C}"/>
                </a:ext>
              </a:extLst>
            </p:cNvPr>
            <p:cNvSpPr/>
            <p:nvPr/>
          </p:nvSpPr>
          <p:spPr bwMode="invGray">
            <a:xfrm>
              <a:off x="1560854" y="376618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0" name="Freihandform 36">
              <a:extLst>
                <a:ext uri="{FF2B5EF4-FFF2-40B4-BE49-F238E27FC236}">
                  <a16:creationId xmlns:a16="http://schemas.microsoft.com/office/drawing/2014/main" id="{663953A3-132C-4F8A-A542-F246666170C7}"/>
                </a:ext>
              </a:extLst>
            </p:cNvPr>
            <p:cNvSpPr/>
            <p:nvPr/>
          </p:nvSpPr>
          <p:spPr bwMode="invGray">
            <a:xfrm>
              <a:off x="1125885" y="466265"/>
              <a:ext cx="67325" cy="47634"/>
            </a:xfrm>
            <a:custGeom>
              <a:avLst/>
              <a:gdLst>
                <a:gd name="connsiteX0" fmla="*/ 221207 w 307914"/>
                <a:gd name="connsiteY0" fmla="*/ 159264 h 217854"/>
                <a:gd name="connsiteX1" fmla="*/ 219052 w 307914"/>
                <a:gd name="connsiteY1" fmla="*/ 159264 h 217854"/>
                <a:gd name="connsiteX2" fmla="*/ 176205 w 307914"/>
                <a:gd name="connsiteY2" fmla="*/ 0 h 217854"/>
                <a:gd name="connsiteX3" fmla="*/ 132217 w 307914"/>
                <a:gd name="connsiteY3" fmla="*/ 0 h 217854"/>
                <a:gd name="connsiteX4" fmla="*/ 89117 w 307914"/>
                <a:gd name="connsiteY4" fmla="*/ 159894 h 217854"/>
                <a:gd name="connsiteX5" fmla="*/ 86961 w 307914"/>
                <a:gd name="connsiteY5" fmla="*/ 159894 h 217854"/>
                <a:gd name="connsiteX6" fmla="*/ 43988 w 307914"/>
                <a:gd name="connsiteY6" fmla="*/ 0 h 217854"/>
                <a:gd name="connsiteX7" fmla="*/ 0 w 307914"/>
                <a:gd name="connsiteY7" fmla="*/ 0 h 217854"/>
                <a:gd name="connsiteX8" fmla="*/ 64397 w 307914"/>
                <a:gd name="connsiteY8" fmla="*/ 217854 h 217854"/>
                <a:gd name="connsiteX9" fmla="*/ 107751 w 307914"/>
                <a:gd name="connsiteY9" fmla="*/ 217854 h 217854"/>
                <a:gd name="connsiteX10" fmla="*/ 152246 w 307914"/>
                <a:gd name="connsiteY10" fmla="*/ 60606 h 217854"/>
                <a:gd name="connsiteX11" fmla="*/ 155542 w 307914"/>
                <a:gd name="connsiteY11" fmla="*/ 60606 h 217854"/>
                <a:gd name="connsiteX12" fmla="*/ 200037 w 307914"/>
                <a:gd name="connsiteY12" fmla="*/ 217854 h 217854"/>
                <a:gd name="connsiteX13" fmla="*/ 243518 w 307914"/>
                <a:gd name="connsiteY13" fmla="*/ 217854 h 217854"/>
                <a:gd name="connsiteX14" fmla="*/ 307915 w 307914"/>
                <a:gd name="connsiteY14" fmla="*/ 0 h 217854"/>
                <a:gd name="connsiteX15" fmla="*/ 263800 w 307914"/>
                <a:gd name="connsiteY15" fmla="*/ 0 h 21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7914" h="217854">
                  <a:moveTo>
                    <a:pt x="221207" y="159264"/>
                  </a:moveTo>
                  <a:lnTo>
                    <a:pt x="219052" y="159264"/>
                  </a:lnTo>
                  <a:lnTo>
                    <a:pt x="176205" y="0"/>
                  </a:lnTo>
                  <a:lnTo>
                    <a:pt x="132217" y="0"/>
                  </a:lnTo>
                  <a:lnTo>
                    <a:pt x="89117" y="159894"/>
                  </a:lnTo>
                  <a:lnTo>
                    <a:pt x="86961" y="159894"/>
                  </a:lnTo>
                  <a:lnTo>
                    <a:pt x="43988" y="0"/>
                  </a:lnTo>
                  <a:lnTo>
                    <a:pt x="0" y="0"/>
                  </a:lnTo>
                  <a:lnTo>
                    <a:pt x="64397" y="217854"/>
                  </a:lnTo>
                  <a:lnTo>
                    <a:pt x="107751" y="217854"/>
                  </a:lnTo>
                  <a:lnTo>
                    <a:pt x="152246" y="60606"/>
                  </a:lnTo>
                  <a:lnTo>
                    <a:pt x="155542" y="60606"/>
                  </a:lnTo>
                  <a:lnTo>
                    <a:pt x="200037" y="217854"/>
                  </a:lnTo>
                  <a:lnTo>
                    <a:pt x="243518" y="217854"/>
                  </a:lnTo>
                  <a:lnTo>
                    <a:pt x="307915" y="0"/>
                  </a:lnTo>
                  <a:lnTo>
                    <a:pt x="263800" y="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1" name="Freihandform 37">
              <a:extLst>
                <a:ext uri="{FF2B5EF4-FFF2-40B4-BE49-F238E27FC236}">
                  <a16:creationId xmlns:a16="http://schemas.microsoft.com/office/drawing/2014/main" id="{A9437713-E829-48C1-8155-9D1DB29E79D5}"/>
                </a:ext>
              </a:extLst>
            </p:cNvPr>
            <p:cNvSpPr/>
            <p:nvPr/>
          </p:nvSpPr>
          <p:spPr bwMode="invGray">
            <a:xfrm>
              <a:off x="1198532" y="465659"/>
              <a:ext cx="44625" cy="49177"/>
            </a:xfrm>
            <a:custGeom>
              <a:avLst/>
              <a:gdLst>
                <a:gd name="connsiteX0" fmla="*/ 155796 w 204093"/>
                <a:gd name="connsiteY0" fmla="*/ 13986 h 224910"/>
                <a:gd name="connsiteX1" fmla="*/ 102047 w 204093"/>
                <a:gd name="connsiteY1" fmla="*/ 0 h 224910"/>
                <a:gd name="connsiteX2" fmla="*/ 48298 w 204093"/>
                <a:gd name="connsiteY2" fmla="*/ 13986 h 224910"/>
                <a:gd name="connsiteX3" fmla="*/ 12677 w 204093"/>
                <a:gd name="connsiteY3" fmla="*/ 53424 h 224910"/>
                <a:gd name="connsiteX4" fmla="*/ 0 w 204093"/>
                <a:gd name="connsiteY4" fmla="*/ 112644 h 224910"/>
                <a:gd name="connsiteX5" fmla="*/ 12677 w 204093"/>
                <a:gd name="connsiteY5" fmla="*/ 171612 h 224910"/>
                <a:gd name="connsiteX6" fmla="*/ 48298 w 204093"/>
                <a:gd name="connsiteY6" fmla="*/ 210924 h 224910"/>
                <a:gd name="connsiteX7" fmla="*/ 102047 w 204093"/>
                <a:gd name="connsiteY7" fmla="*/ 224910 h 224910"/>
                <a:gd name="connsiteX8" fmla="*/ 155796 w 204093"/>
                <a:gd name="connsiteY8" fmla="*/ 210924 h 224910"/>
                <a:gd name="connsiteX9" fmla="*/ 191417 w 204093"/>
                <a:gd name="connsiteY9" fmla="*/ 171612 h 224910"/>
                <a:gd name="connsiteX10" fmla="*/ 204094 w 204093"/>
                <a:gd name="connsiteY10" fmla="*/ 112644 h 224910"/>
                <a:gd name="connsiteX11" fmla="*/ 191417 w 204093"/>
                <a:gd name="connsiteY11" fmla="*/ 53424 h 224910"/>
                <a:gd name="connsiteX12" fmla="*/ 155796 w 204093"/>
                <a:gd name="connsiteY12" fmla="*/ 13986 h 224910"/>
                <a:gd name="connsiteX13" fmla="*/ 154655 w 204093"/>
                <a:gd name="connsiteY13" fmla="*/ 150948 h 224910"/>
                <a:gd name="connsiteX14" fmla="*/ 135133 w 204093"/>
                <a:gd name="connsiteY14" fmla="*/ 178920 h 224910"/>
                <a:gd name="connsiteX15" fmla="*/ 102047 w 204093"/>
                <a:gd name="connsiteY15" fmla="*/ 189378 h 224910"/>
                <a:gd name="connsiteX16" fmla="*/ 68707 w 204093"/>
                <a:gd name="connsiteY16" fmla="*/ 178920 h 224910"/>
                <a:gd name="connsiteX17" fmla="*/ 49185 w 204093"/>
                <a:gd name="connsiteY17" fmla="*/ 150948 h 224910"/>
                <a:gd name="connsiteX18" fmla="*/ 42847 w 204093"/>
                <a:gd name="connsiteY18" fmla="*/ 112518 h 224910"/>
                <a:gd name="connsiteX19" fmla="*/ 49185 w 204093"/>
                <a:gd name="connsiteY19" fmla="*/ 74214 h 224910"/>
                <a:gd name="connsiteX20" fmla="*/ 68707 w 204093"/>
                <a:gd name="connsiteY20" fmla="*/ 46116 h 224910"/>
                <a:gd name="connsiteX21" fmla="*/ 102047 w 204093"/>
                <a:gd name="connsiteY21" fmla="*/ 35532 h 224910"/>
                <a:gd name="connsiteX22" fmla="*/ 135133 w 204093"/>
                <a:gd name="connsiteY22" fmla="*/ 46116 h 224910"/>
                <a:gd name="connsiteX23" fmla="*/ 154655 w 204093"/>
                <a:gd name="connsiteY23" fmla="*/ 74214 h 224910"/>
                <a:gd name="connsiteX24" fmla="*/ 160993 w 204093"/>
                <a:gd name="connsiteY24" fmla="*/ 112518 h 224910"/>
                <a:gd name="connsiteX25" fmla="*/ 154655 w 204093"/>
                <a:gd name="connsiteY25" fmla="*/ 150948 h 224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10">
                  <a:moveTo>
                    <a:pt x="155796" y="13986"/>
                  </a:move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6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3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6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0" y="154854"/>
                    <a:pt x="204094" y="135072"/>
                    <a:pt x="204094" y="112644"/>
                  </a:cubicBezTo>
                  <a:cubicBezTo>
                    <a:pt x="204094" y="90090"/>
                    <a:pt x="199910" y="70308"/>
                    <a:pt x="191417" y="53424"/>
                  </a:cubicBezTo>
                  <a:cubicBezTo>
                    <a:pt x="182924" y="36540"/>
                    <a:pt x="171007" y="23310"/>
                    <a:pt x="155796" y="13986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09" y="189378"/>
                    <a:pt x="77581" y="185850"/>
                    <a:pt x="68707" y="178920"/>
                  </a:cubicBezTo>
                  <a:cubicBezTo>
                    <a:pt x="59961" y="171990"/>
                    <a:pt x="53368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8" y="62496"/>
                    <a:pt x="59961" y="53172"/>
                    <a:pt x="68707" y="46116"/>
                  </a:cubicBezTo>
                  <a:cubicBezTo>
                    <a:pt x="77454" y="39060"/>
                    <a:pt x="88609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2" name="Freihandform 38">
              <a:extLst>
                <a:ext uri="{FF2B5EF4-FFF2-40B4-BE49-F238E27FC236}">
                  <a16:creationId xmlns:a16="http://schemas.microsoft.com/office/drawing/2014/main" id="{A557F429-6F93-4F3C-B06C-6AA11804ED92}"/>
                </a:ext>
              </a:extLst>
            </p:cNvPr>
            <p:cNvSpPr/>
            <p:nvPr/>
          </p:nvSpPr>
          <p:spPr bwMode="invGray">
            <a:xfrm>
              <a:off x="1253635" y="465549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3" name="Freihandform 39">
              <a:extLst>
                <a:ext uri="{FF2B5EF4-FFF2-40B4-BE49-F238E27FC236}">
                  <a16:creationId xmlns:a16="http://schemas.microsoft.com/office/drawing/2014/main" id="{7DC88ECB-9263-4363-9D71-4514FF702696}"/>
                </a:ext>
              </a:extLst>
            </p:cNvPr>
            <p:cNvSpPr/>
            <p:nvPr/>
          </p:nvSpPr>
          <p:spPr bwMode="invGray">
            <a:xfrm>
              <a:off x="1287450" y="450397"/>
              <a:ext cx="9341" cy="63475"/>
            </a:xfrm>
            <a:custGeom>
              <a:avLst/>
              <a:gdLst>
                <a:gd name="connsiteX0" fmla="*/ 0 w 42720"/>
                <a:gd name="connsiteY0" fmla="*/ 0 h 290304"/>
                <a:gd name="connsiteX1" fmla="*/ 42720 w 42720"/>
                <a:gd name="connsiteY1" fmla="*/ 0 h 290304"/>
                <a:gd name="connsiteX2" fmla="*/ 42720 w 42720"/>
                <a:gd name="connsiteY2" fmla="*/ 290304 h 290304"/>
                <a:gd name="connsiteX3" fmla="*/ 0 w 42720"/>
                <a:gd name="connsiteY3" fmla="*/ 290304 h 29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90304">
                  <a:moveTo>
                    <a:pt x="0" y="0"/>
                  </a:moveTo>
                  <a:lnTo>
                    <a:pt x="42720" y="0"/>
                  </a:lnTo>
                  <a:lnTo>
                    <a:pt x="42720" y="290304"/>
                  </a:lnTo>
                  <a:lnTo>
                    <a:pt x="0" y="290304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4" name="Freihandform 40">
              <a:extLst>
                <a:ext uri="{FF2B5EF4-FFF2-40B4-BE49-F238E27FC236}">
                  <a16:creationId xmlns:a16="http://schemas.microsoft.com/office/drawing/2014/main" id="{BE070819-7F8D-4874-8710-2FC1516B1249}"/>
                </a:ext>
              </a:extLst>
            </p:cNvPr>
            <p:cNvSpPr/>
            <p:nvPr/>
          </p:nvSpPr>
          <p:spPr bwMode="invGray">
            <a:xfrm>
              <a:off x="1307323" y="450397"/>
              <a:ext cx="43793" cy="64411"/>
            </a:xfrm>
            <a:custGeom>
              <a:avLst/>
              <a:gdLst>
                <a:gd name="connsiteX0" fmla="*/ 157444 w 200290"/>
                <a:gd name="connsiteY0" fmla="*/ 107856 h 294587"/>
                <a:gd name="connsiteX1" fmla="*/ 154908 w 200290"/>
                <a:gd name="connsiteY1" fmla="*/ 107856 h 294587"/>
                <a:gd name="connsiteX2" fmla="*/ 144133 w 200290"/>
                <a:gd name="connsiteY2" fmla="*/ 92106 h 294587"/>
                <a:gd name="connsiteX3" fmla="*/ 124738 w 200290"/>
                <a:gd name="connsiteY3" fmla="*/ 76482 h 294587"/>
                <a:gd name="connsiteX4" fmla="*/ 91905 w 200290"/>
                <a:gd name="connsiteY4" fmla="*/ 69804 h 294587"/>
                <a:gd name="connsiteX5" fmla="*/ 44622 w 200290"/>
                <a:gd name="connsiteY5" fmla="*/ 83160 h 294587"/>
                <a:gd name="connsiteX6" fmla="*/ 11916 w 200290"/>
                <a:gd name="connsiteY6" fmla="*/ 121590 h 294587"/>
                <a:gd name="connsiteX7" fmla="*/ 0 w 200290"/>
                <a:gd name="connsiteY7" fmla="*/ 181944 h 294587"/>
                <a:gd name="connsiteX8" fmla="*/ 11789 w 200290"/>
                <a:gd name="connsiteY8" fmla="*/ 242424 h 294587"/>
                <a:gd name="connsiteX9" fmla="*/ 44368 w 200290"/>
                <a:gd name="connsiteY9" fmla="*/ 281106 h 294587"/>
                <a:gd name="connsiteX10" fmla="*/ 91652 w 200290"/>
                <a:gd name="connsiteY10" fmla="*/ 294588 h 294587"/>
                <a:gd name="connsiteX11" fmla="*/ 124231 w 200290"/>
                <a:gd name="connsiteY11" fmla="*/ 287910 h 294587"/>
                <a:gd name="connsiteX12" fmla="*/ 144006 w 200290"/>
                <a:gd name="connsiteY12" fmla="*/ 272286 h 294587"/>
                <a:gd name="connsiteX13" fmla="*/ 155035 w 200290"/>
                <a:gd name="connsiteY13" fmla="*/ 256410 h 294587"/>
                <a:gd name="connsiteX14" fmla="*/ 158585 w 200290"/>
                <a:gd name="connsiteY14" fmla="*/ 256410 h 294587"/>
                <a:gd name="connsiteX15" fmla="*/ 158585 w 200290"/>
                <a:gd name="connsiteY15" fmla="*/ 290304 h 294587"/>
                <a:gd name="connsiteX16" fmla="*/ 200290 w 200290"/>
                <a:gd name="connsiteY16" fmla="*/ 290304 h 294587"/>
                <a:gd name="connsiteX17" fmla="*/ 200290 w 200290"/>
                <a:gd name="connsiteY17" fmla="*/ 0 h 294587"/>
                <a:gd name="connsiteX18" fmla="*/ 157570 w 200290"/>
                <a:gd name="connsiteY18" fmla="*/ 0 h 294587"/>
                <a:gd name="connsiteX19" fmla="*/ 157570 w 200290"/>
                <a:gd name="connsiteY19" fmla="*/ 107856 h 294587"/>
                <a:gd name="connsiteX20" fmla="*/ 151612 w 200290"/>
                <a:gd name="connsiteY20" fmla="*/ 221760 h 294587"/>
                <a:gd name="connsiteX21" fmla="*/ 132217 w 200290"/>
                <a:gd name="connsiteY21" fmla="*/ 248724 h 294587"/>
                <a:gd name="connsiteX22" fmla="*/ 101033 w 200290"/>
                <a:gd name="connsiteY22" fmla="*/ 258426 h 294587"/>
                <a:gd name="connsiteX23" fmla="*/ 69214 w 200290"/>
                <a:gd name="connsiteY23" fmla="*/ 248346 h 294587"/>
                <a:gd name="connsiteX24" fmla="*/ 49819 w 200290"/>
                <a:gd name="connsiteY24" fmla="*/ 220752 h 294587"/>
                <a:gd name="connsiteX25" fmla="*/ 43227 w 200290"/>
                <a:gd name="connsiteY25" fmla="*/ 181440 h 294587"/>
                <a:gd name="connsiteX26" fmla="*/ 49693 w 200290"/>
                <a:gd name="connsiteY26" fmla="*/ 142758 h 294587"/>
                <a:gd name="connsiteX27" fmla="*/ 68961 w 200290"/>
                <a:gd name="connsiteY27" fmla="*/ 115668 h 294587"/>
                <a:gd name="connsiteX28" fmla="*/ 101033 w 200290"/>
                <a:gd name="connsiteY28" fmla="*/ 105714 h 294587"/>
                <a:gd name="connsiteX29" fmla="*/ 132471 w 200290"/>
                <a:gd name="connsiteY29" fmla="*/ 115164 h 294587"/>
                <a:gd name="connsiteX30" fmla="*/ 151739 w 200290"/>
                <a:gd name="connsiteY30" fmla="*/ 141624 h 294587"/>
                <a:gd name="connsiteX31" fmla="*/ 158331 w 200290"/>
                <a:gd name="connsiteY31" fmla="*/ 181314 h 294587"/>
                <a:gd name="connsiteX32" fmla="*/ 151612 w 200290"/>
                <a:gd name="connsiteY32" fmla="*/ 221760 h 29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290" h="294587">
                  <a:moveTo>
                    <a:pt x="157444" y="107856"/>
                  </a:moveTo>
                  <a:lnTo>
                    <a:pt x="154908" y="107856"/>
                  </a:lnTo>
                  <a:cubicBezTo>
                    <a:pt x="152373" y="103320"/>
                    <a:pt x="148697" y="98028"/>
                    <a:pt x="144133" y="92106"/>
                  </a:cubicBezTo>
                  <a:cubicBezTo>
                    <a:pt x="139443" y="86184"/>
                    <a:pt x="132978" y="80892"/>
                    <a:pt x="124738" y="76482"/>
                  </a:cubicBezTo>
                  <a:cubicBezTo>
                    <a:pt x="116371" y="71946"/>
                    <a:pt x="105470" y="69804"/>
                    <a:pt x="91905" y="69804"/>
                  </a:cubicBezTo>
                  <a:cubicBezTo>
                    <a:pt x="74285" y="69804"/>
                    <a:pt x="58566" y="74214"/>
                    <a:pt x="44622" y="83160"/>
                  </a:cubicBezTo>
                  <a:cubicBezTo>
                    <a:pt x="30678" y="92106"/>
                    <a:pt x="19775" y="104832"/>
                    <a:pt x="11916" y="121590"/>
                  </a:cubicBezTo>
                  <a:cubicBezTo>
                    <a:pt x="3930" y="138348"/>
                    <a:pt x="0" y="158508"/>
                    <a:pt x="0" y="181944"/>
                  </a:cubicBezTo>
                  <a:cubicBezTo>
                    <a:pt x="0" y="205506"/>
                    <a:pt x="3930" y="225666"/>
                    <a:pt x="11789" y="242424"/>
                  </a:cubicBezTo>
                  <a:cubicBezTo>
                    <a:pt x="19649" y="259182"/>
                    <a:pt x="30424" y="272034"/>
                    <a:pt x="44368" y="281106"/>
                  </a:cubicBezTo>
                  <a:cubicBezTo>
                    <a:pt x="58186" y="290178"/>
                    <a:pt x="73905" y="294588"/>
                    <a:pt x="91652" y="294588"/>
                  </a:cubicBezTo>
                  <a:cubicBezTo>
                    <a:pt x="104962" y="294588"/>
                    <a:pt x="115738" y="292320"/>
                    <a:pt x="124231" y="287910"/>
                  </a:cubicBezTo>
                  <a:cubicBezTo>
                    <a:pt x="132597" y="283500"/>
                    <a:pt x="139189" y="278208"/>
                    <a:pt x="144006" y="272286"/>
                  </a:cubicBezTo>
                  <a:cubicBezTo>
                    <a:pt x="148823" y="266364"/>
                    <a:pt x="152500" y="261072"/>
                    <a:pt x="155035" y="256410"/>
                  </a:cubicBezTo>
                  <a:lnTo>
                    <a:pt x="158585" y="256410"/>
                  </a:lnTo>
                  <a:lnTo>
                    <a:pt x="158585" y="290304"/>
                  </a:lnTo>
                  <a:lnTo>
                    <a:pt x="200290" y="290304"/>
                  </a:lnTo>
                  <a:lnTo>
                    <a:pt x="200290" y="0"/>
                  </a:lnTo>
                  <a:lnTo>
                    <a:pt x="157570" y="0"/>
                  </a:lnTo>
                  <a:lnTo>
                    <a:pt x="157570" y="107856"/>
                  </a:lnTo>
                  <a:close/>
                  <a:moveTo>
                    <a:pt x="151612" y="221760"/>
                  </a:moveTo>
                  <a:cubicBezTo>
                    <a:pt x="147175" y="233226"/>
                    <a:pt x="140711" y="242298"/>
                    <a:pt x="132217" y="248724"/>
                  </a:cubicBezTo>
                  <a:cubicBezTo>
                    <a:pt x="123724" y="255150"/>
                    <a:pt x="113329" y="258426"/>
                    <a:pt x="101033" y="258426"/>
                  </a:cubicBezTo>
                  <a:cubicBezTo>
                    <a:pt x="88356" y="258426"/>
                    <a:pt x="77708" y="255024"/>
                    <a:pt x="69214" y="248346"/>
                  </a:cubicBezTo>
                  <a:cubicBezTo>
                    <a:pt x="60594" y="241542"/>
                    <a:pt x="54129" y="232344"/>
                    <a:pt x="49819" y="220752"/>
                  </a:cubicBezTo>
                  <a:cubicBezTo>
                    <a:pt x="45382" y="209160"/>
                    <a:pt x="43227" y="196056"/>
                    <a:pt x="43227" y="181440"/>
                  </a:cubicBezTo>
                  <a:cubicBezTo>
                    <a:pt x="43227" y="167076"/>
                    <a:pt x="45382" y="154224"/>
                    <a:pt x="49693" y="142758"/>
                  </a:cubicBezTo>
                  <a:cubicBezTo>
                    <a:pt x="54003" y="131292"/>
                    <a:pt x="60467" y="122346"/>
                    <a:pt x="68961" y="115668"/>
                  </a:cubicBezTo>
                  <a:cubicBezTo>
                    <a:pt x="77454" y="108990"/>
                    <a:pt x="88229" y="105714"/>
                    <a:pt x="101033" y="105714"/>
                  </a:cubicBezTo>
                  <a:cubicBezTo>
                    <a:pt x="113456" y="105714"/>
                    <a:pt x="123977" y="108864"/>
                    <a:pt x="132471" y="115164"/>
                  </a:cubicBezTo>
                  <a:cubicBezTo>
                    <a:pt x="140964" y="121464"/>
                    <a:pt x="147302" y="130284"/>
                    <a:pt x="151739" y="141624"/>
                  </a:cubicBezTo>
                  <a:cubicBezTo>
                    <a:pt x="156049" y="152964"/>
                    <a:pt x="158331" y="166194"/>
                    <a:pt x="158331" y="181314"/>
                  </a:cubicBezTo>
                  <a:cubicBezTo>
                    <a:pt x="158204" y="196812"/>
                    <a:pt x="156049" y="210168"/>
                    <a:pt x="151612" y="22176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5" name="Freihandform 41">
              <a:extLst>
                <a:ext uri="{FF2B5EF4-FFF2-40B4-BE49-F238E27FC236}">
                  <a16:creationId xmlns:a16="http://schemas.microsoft.com/office/drawing/2014/main" id="{874300A1-6EF5-45E8-A8F2-13B9427E8203}"/>
                </a:ext>
              </a:extLst>
            </p:cNvPr>
            <p:cNvSpPr/>
            <p:nvPr/>
          </p:nvSpPr>
          <p:spPr bwMode="invGray">
            <a:xfrm>
              <a:off x="1364393" y="502108"/>
              <a:ext cx="12473" cy="12370"/>
            </a:xfrm>
            <a:custGeom>
              <a:avLst/>
              <a:gdLst>
                <a:gd name="connsiteX0" fmla="*/ 28395 w 57044"/>
                <a:gd name="connsiteY0" fmla="*/ 0 h 56573"/>
                <a:gd name="connsiteX1" fmla="*/ 8367 w 57044"/>
                <a:gd name="connsiteY1" fmla="*/ 8316 h 56573"/>
                <a:gd name="connsiteX2" fmla="*/ 0 w 57044"/>
                <a:gd name="connsiteY2" fmla="*/ 28224 h 56573"/>
                <a:gd name="connsiteX3" fmla="*/ 8367 w 57044"/>
                <a:gd name="connsiteY3" fmla="*/ 48258 h 56573"/>
                <a:gd name="connsiteX4" fmla="*/ 28395 w 57044"/>
                <a:gd name="connsiteY4" fmla="*/ 56574 h 56573"/>
                <a:gd name="connsiteX5" fmla="*/ 42720 w 57044"/>
                <a:gd name="connsiteY5" fmla="*/ 52794 h 56573"/>
                <a:gd name="connsiteX6" fmla="*/ 53115 w 57044"/>
                <a:gd name="connsiteY6" fmla="*/ 42462 h 56573"/>
                <a:gd name="connsiteX7" fmla="*/ 57045 w 57044"/>
                <a:gd name="connsiteY7" fmla="*/ 28224 h 56573"/>
                <a:gd name="connsiteX8" fmla="*/ 48678 w 57044"/>
                <a:gd name="connsiteY8" fmla="*/ 8316 h 56573"/>
                <a:gd name="connsiteX9" fmla="*/ 28395 w 57044"/>
                <a:gd name="connsiteY9" fmla="*/ 0 h 5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44" h="56573">
                  <a:moveTo>
                    <a:pt x="28395" y="0"/>
                  </a:moveTo>
                  <a:cubicBezTo>
                    <a:pt x="20663" y="0"/>
                    <a:pt x="13944" y="2772"/>
                    <a:pt x="8367" y="8316"/>
                  </a:cubicBezTo>
                  <a:cubicBezTo>
                    <a:pt x="2789" y="13860"/>
                    <a:pt x="0" y="20538"/>
                    <a:pt x="0" y="28224"/>
                  </a:cubicBezTo>
                  <a:cubicBezTo>
                    <a:pt x="0" y="36036"/>
                    <a:pt x="2789" y="42714"/>
                    <a:pt x="8367" y="48258"/>
                  </a:cubicBezTo>
                  <a:cubicBezTo>
                    <a:pt x="13944" y="53802"/>
                    <a:pt x="20663" y="56574"/>
                    <a:pt x="28395" y="56574"/>
                  </a:cubicBezTo>
                  <a:cubicBezTo>
                    <a:pt x="33593" y="56574"/>
                    <a:pt x="38410" y="55314"/>
                    <a:pt x="42720" y="52794"/>
                  </a:cubicBezTo>
                  <a:cubicBezTo>
                    <a:pt x="47030" y="50274"/>
                    <a:pt x="50453" y="46872"/>
                    <a:pt x="53115" y="42462"/>
                  </a:cubicBezTo>
                  <a:cubicBezTo>
                    <a:pt x="55777" y="38178"/>
                    <a:pt x="57045" y="33390"/>
                    <a:pt x="57045" y="28224"/>
                  </a:cubicBezTo>
                  <a:cubicBezTo>
                    <a:pt x="57045" y="20412"/>
                    <a:pt x="54256" y="13860"/>
                    <a:pt x="48678" y="8316"/>
                  </a:cubicBezTo>
                  <a:cubicBezTo>
                    <a:pt x="42847" y="2772"/>
                    <a:pt x="36128" y="0"/>
                    <a:pt x="28395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  <p:sp>
        <p:nvSpPr>
          <p:cNvPr id="11" name="Titel 10">
            <a:extLst>
              <a:ext uri="{FF2B5EF4-FFF2-40B4-BE49-F238E27FC236}">
                <a16:creationId xmlns:a16="http://schemas.microsoft.com/office/drawing/2014/main" id="{A61DA797-8454-4364-8770-8101AFDD41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4032000" cy="1883593"/>
          </a:xfrm>
        </p:spPr>
        <p:txBody>
          <a:bodyPr vert="horz" anchor="b"/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US"/>
              <a:t>Titl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FEAEEB5-CEA6-41B3-AE59-98285007A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3525" y="4357103"/>
            <a:ext cx="4032000" cy="246221"/>
          </a:xfrm>
        </p:spPr>
        <p:txBody>
          <a:bodyPr>
            <a:no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line optional Inter Medium 16pt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80E2349F-1508-4D41-A46E-B4E8D0F7F0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3525" y="5688568"/>
            <a:ext cx="4032000" cy="369332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uthor, </a:t>
            </a:r>
            <a:br>
              <a:rPr lang="en-US"/>
            </a:br>
            <a:r>
              <a:rPr lang="en-US"/>
              <a:t>Place, Date Inter 12pt</a:t>
            </a:r>
          </a:p>
        </p:txBody>
      </p:sp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C44E781B-3F9A-4BE7-97BD-4332B650C4C2}"/>
              </a:ext>
            </a:extLst>
          </p:cNvPr>
          <p:cNvSpPr/>
          <p:nvPr/>
        </p:nvSpPr>
        <p:spPr bwMode="invGray">
          <a:xfrm>
            <a:off x="4591254" y="-1"/>
            <a:ext cx="7602228" cy="6858001"/>
          </a:xfrm>
          <a:custGeom>
            <a:avLst/>
            <a:gdLst>
              <a:gd name="connsiteX0" fmla="*/ 3293816 w 7602228"/>
              <a:gd name="connsiteY0" fmla="*/ 4038523 h 6858001"/>
              <a:gd name="connsiteX1" fmla="*/ 4309498 w 7602228"/>
              <a:gd name="connsiteY1" fmla="*/ 4038523 h 6858001"/>
              <a:gd name="connsiteX2" fmla="*/ 4309498 w 7602228"/>
              <a:gd name="connsiteY2" fmla="*/ 6858001 h 6858001"/>
              <a:gd name="connsiteX3" fmla="*/ 3293816 w 7602228"/>
              <a:gd name="connsiteY3" fmla="*/ 6858001 h 6858001"/>
              <a:gd name="connsiteX4" fmla="*/ 1268071 w 7602228"/>
              <a:gd name="connsiteY4" fmla="*/ 3540455 h 6858001"/>
              <a:gd name="connsiteX5" fmla="*/ 2395990 w 7602228"/>
              <a:gd name="connsiteY5" fmla="*/ 3540455 h 6858001"/>
              <a:gd name="connsiteX6" fmla="*/ 1128430 w 7602228"/>
              <a:gd name="connsiteY6" fmla="*/ 6074552 h 6858001"/>
              <a:gd name="connsiteX7" fmla="*/ 0 w 7602228"/>
              <a:gd name="connsiteY7" fmla="*/ 6074552 h 6858001"/>
              <a:gd name="connsiteX8" fmla="*/ 3037787 w 7602228"/>
              <a:gd name="connsiteY8" fmla="*/ 0 h 6858001"/>
              <a:gd name="connsiteX9" fmla="*/ 4565464 w 7602228"/>
              <a:gd name="connsiteY9" fmla="*/ 0 h 6858001"/>
              <a:gd name="connsiteX10" fmla="*/ 7602228 w 7602228"/>
              <a:gd name="connsiteY10" fmla="*/ 6076086 h 6858001"/>
              <a:gd name="connsiteX11" fmla="*/ 6474309 w 7602228"/>
              <a:gd name="connsiteY11" fmla="*/ 6076086 h 6858001"/>
              <a:gd name="connsiteX12" fmla="*/ 3801657 w 7602228"/>
              <a:gd name="connsiteY12" fmla="*/ 730206 h 6858001"/>
              <a:gd name="connsiteX13" fmla="*/ 3154686 w 7602228"/>
              <a:gd name="connsiteY13" fmla="*/ 2023126 h 6858001"/>
              <a:gd name="connsiteX14" fmla="*/ 2026256 w 7602228"/>
              <a:gd name="connsiteY14" fmla="*/ 2023126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602228" h="6858001">
                <a:moveTo>
                  <a:pt x="3293816" y="4038523"/>
                </a:moveTo>
                <a:lnTo>
                  <a:pt x="4309498" y="4038523"/>
                </a:lnTo>
                <a:lnTo>
                  <a:pt x="4309498" y="6858001"/>
                </a:lnTo>
                <a:lnTo>
                  <a:pt x="3293816" y="6858001"/>
                </a:lnTo>
                <a:close/>
                <a:moveTo>
                  <a:pt x="1268071" y="3540455"/>
                </a:moveTo>
                <a:lnTo>
                  <a:pt x="2395990" y="3540455"/>
                </a:lnTo>
                <a:lnTo>
                  <a:pt x="1128430" y="6074552"/>
                </a:lnTo>
                <a:lnTo>
                  <a:pt x="0" y="6074552"/>
                </a:lnTo>
                <a:close/>
                <a:moveTo>
                  <a:pt x="3037787" y="0"/>
                </a:moveTo>
                <a:lnTo>
                  <a:pt x="4565464" y="0"/>
                </a:lnTo>
                <a:lnTo>
                  <a:pt x="7602228" y="6076086"/>
                </a:lnTo>
                <a:lnTo>
                  <a:pt x="6474309" y="6076086"/>
                </a:lnTo>
                <a:lnTo>
                  <a:pt x="3801657" y="730206"/>
                </a:lnTo>
                <a:lnTo>
                  <a:pt x="3154686" y="2023126"/>
                </a:lnTo>
                <a:lnTo>
                  <a:pt x="2026256" y="2023126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973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- white - arrow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922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ABEB68DB-D429-470B-9F61-960355E206D9}"/>
              </a:ext>
            </a:extLst>
          </p:cNvPr>
          <p:cNvSpPr>
            <a:spLocks/>
          </p:cNvSpPr>
          <p:nvPr/>
        </p:nvSpPr>
        <p:spPr>
          <a:xfrm>
            <a:off x="9159250" y="0"/>
            <a:ext cx="303275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/>
        </p:nvGrpSpPr>
        <p:grpSpPr>
          <a:xfrm>
            <a:off x="269875" y="6525716"/>
            <a:ext cx="485623" cy="147421"/>
            <a:chOff x="269875" y="6525716"/>
            <a:chExt cx="485623" cy="147421"/>
          </a:xfrm>
          <a:solidFill>
            <a:schemeClr val="accent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44B831F-6823-4954-95E7-DA34917246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59250" y="0"/>
            <a:ext cx="3032750" cy="3429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069C443F-9284-42C8-9C39-FD5694CBDF3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25FB2B5-50B8-421D-B7F3-410471F0C9F9}" type="datetime4">
              <a:rPr lang="en-US" smtClean="0"/>
              <a:t>July 4, 2024</a:t>
            </a:fld>
            <a:endParaRPr lang="en-US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4FD5CCA-0946-4A9D-B3CE-4BA5DE75EEB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109A756-17C1-499C-93AB-102CFE29E94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7" name="Freihandform: Form 46">
            <a:extLst>
              <a:ext uri="{FF2B5EF4-FFF2-40B4-BE49-F238E27FC236}">
                <a16:creationId xmlns:a16="http://schemas.microsoft.com/office/drawing/2014/main" id="{876B2284-802F-4040-A697-BADE2628B14A}"/>
              </a:ext>
            </a:extLst>
          </p:cNvPr>
          <p:cNvSpPr>
            <a:spLocks/>
          </p:cNvSpPr>
          <p:nvPr/>
        </p:nvSpPr>
        <p:spPr bwMode="gray">
          <a:xfrm>
            <a:off x="9794834" y="3970817"/>
            <a:ext cx="1759033" cy="2345367"/>
          </a:xfrm>
          <a:custGeom>
            <a:avLst/>
            <a:gdLst>
              <a:gd name="connsiteX0" fmla="*/ -1070 w 119009"/>
              <a:gd name="connsiteY0" fmla="*/ 95094 h 158678"/>
              <a:gd name="connsiteX1" fmla="*/ 16595 w 119009"/>
              <a:gd name="connsiteY1" fmla="*/ 95094 h 158678"/>
              <a:gd name="connsiteX2" fmla="*/ 36438 w 119009"/>
              <a:gd name="connsiteY2" fmla="*/ 55424 h 158678"/>
              <a:gd name="connsiteX3" fmla="*/ 18781 w 119009"/>
              <a:gd name="connsiteY3" fmla="*/ 55424 h 158678"/>
              <a:gd name="connsiteX4" fmla="*/ 70400 w 119009"/>
              <a:gd name="connsiteY4" fmla="*/ 0 h 158678"/>
              <a:gd name="connsiteX5" fmla="*/ 46485 w 119009"/>
              <a:gd name="connsiteY5" fmla="*/ 0 h 158678"/>
              <a:gd name="connsiteX6" fmla="*/ 30650 w 119009"/>
              <a:gd name="connsiteY6" fmla="*/ 31671 h 158678"/>
              <a:gd name="connsiteX7" fmla="*/ 48315 w 119009"/>
              <a:gd name="connsiteY7" fmla="*/ 31671 h 158678"/>
              <a:gd name="connsiteX8" fmla="*/ 58443 w 119009"/>
              <a:gd name="connsiteY8" fmla="*/ 11431 h 158678"/>
              <a:gd name="connsiteX9" fmla="*/ 100282 w 119009"/>
              <a:gd name="connsiteY9" fmla="*/ 95118 h 158678"/>
              <a:gd name="connsiteX10" fmla="*/ 117939 w 119009"/>
              <a:gd name="connsiteY10" fmla="*/ 95118 h 158678"/>
              <a:gd name="connsiteX11" fmla="*/ 50493 w 119009"/>
              <a:gd name="connsiteY11" fmla="*/ 63221 h 158678"/>
              <a:gd name="connsiteX12" fmla="*/ 66393 w 119009"/>
              <a:gd name="connsiteY12" fmla="*/ 63221 h 158678"/>
              <a:gd name="connsiteX13" fmla="*/ 66393 w 119009"/>
              <a:gd name="connsiteY13" fmla="*/ 158679 h 158678"/>
              <a:gd name="connsiteX14" fmla="*/ 50493 w 119009"/>
              <a:gd name="connsiteY14" fmla="*/ 158679 h 158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9009" h="158678">
                <a:moveTo>
                  <a:pt x="-1070" y="95094"/>
                </a:moveTo>
                <a:lnTo>
                  <a:pt x="16595" y="95094"/>
                </a:lnTo>
                <a:lnTo>
                  <a:pt x="36438" y="55424"/>
                </a:lnTo>
                <a:lnTo>
                  <a:pt x="18781" y="55424"/>
                </a:lnTo>
                <a:close/>
                <a:moveTo>
                  <a:pt x="70400" y="0"/>
                </a:moveTo>
                <a:lnTo>
                  <a:pt x="46485" y="0"/>
                </a:lnTo>
                <a:lnTo>
                  <a:pt x="30650" y="31671"/>
                </a:lnTo>
                <a:lnTo>
                  <a:pt x="48315" y="31671"/>
                </a:lnTo>
                <a:lnTo>
                  <a:pt x="58443" y="11431"/>
                </a:lnTo>
                <a:lnTo>
                  <a:pt x="100282" y="95118"/>
                </a:lnTo>
                <a:lnTo>
                  <a:pt x="117939" y="95118"/>
                </a:lnTo>
                <a:close/>
                <a:moveTo>
                  <a:pt x="50493" y="63221"/>
                </a:moveTo>
                <a:lnTo>
                  <a:pt x="66393" y="63221"/>
                </a:lnTo>
                <a:lnTo>
                  <a:pt x="66393" y="158679"/>
                </a:lnTo>
                <a:lnTo>
                  <a:pt x="50493" y="158679"/>
                </a:lnTo>
                <a:close/>
              </a:path>
            </a:pathLst>
          </a:custGeom>
          <a:gradFill>
            <a:gsLst>
              <a:gs pos="1000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 rtl="0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75BFBF-A250-4746-A32C-35C6A715E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anchor="b">
            <a:spAutoFit/>
          </a:bodyPr>
          <a:lstStyle>
            <a:lvl1pPr rtl="0">
              <a:lnSpc>
                <a:spcPct val="85000"/>
              </a:lnSpc>
              <a:defRPr sz="4800" b="0"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US"/>
              <a:t>CHAPTER SLID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65A1254-52BD-447B-B318-FDF9B893EA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16pt</a:t>
            </a:r>
          </a:p>
        </p:txBody>
      </p:sp>
    </p:spTree>
    <p:extLst>
      <p:ext uri="{BB962C8B-B14F-4D97-AF65-F5344CB8AC3E}">
        <p14:creationId xmlns:p14="http://schemas.microsoft.com/office/powerpoint/2010/main" val="13788987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-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3264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B38D6861-D900-46A8-B7EC-2D6AE501F62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44822 w 12192000"/>
              <a:gd name="connsiteY0" fmla="*/ 6525737 h 6858000"/>
              <a:gd name="connsiteX1" fmla="*/ 620244 w 12192000"/>
              <a:gd name="connsiteY1" fmla="*/ 6574870 h 6858000"/>
              <a:gd name="connsiteX2" fmla="*/ 647589 w 12192000"/>
              <a:gd name="connsiteY2" fmla="*/ 6574870 h 6858000"/>
              <a:gd name="connsiteX3" fmla="*/ 663359 w 12192000"/>
              <a:gd name="connsiteY3" fmla="*/ 6543410 h 6858000"/>
              <a:gd name="connsiteX4" fmla="*/ 728153 w 12192000"/>
              <a:gd name="connsiteY4" fmla="*/ 6673136 h 6858000"/>
              <a:gd name="connsiteX5" fmla="*/ 755498 w 12192000"/>
              <a:gd name="connsiteY5" fmla="*/ 6673136 h 6858000"/>
              <a:gd name="connsiteX6" fmla="*/ 681699 w 12192000"/>
              <a:gd name="connsiteY6" fmla="*/ 6525737 h 6858000"/>
              <a:gd name="connsiteX7" fmla="*/ 448200 w 12192000"/>
              <a:gd name="connsiteY7" fmla="*/ 6525716 h 6858000"/>
              <a:gd name="connsiteX8" fmla="*/ 448200 w 12192000"/>
              <a:gd name="connsiteY8" fmla="*/ 6574871 h 6858000"/>
              <a:gd name="connsiteX9" fmla="*/ 472778 w 12192000"/>
              <a:gd name="connsiteY9" fmla="*/ 6574871 h 6858000"/>
              <a:gd name="connsiteX10" fmla="*/ 472778 w 12192000"/>
              <a:gd name="connsiteY10" fmla="*/ 6550305 h 6858000"/>
              <a:gd name="connsiteX11" fmla="*/ 558811 w 12192000"/>
              <a:gd name="connsiteY11" fmla="*/ 6550305 h 6858000"/>
              <a:gd name="connsiteX12" fmla="*/ 558811 w 12192000"/>
              <a:gd name="connsiteY12" fmla="*/ 6525738 h 6858000"/>
              <a:gd name="connsiteX13" fmla="*/ 343191 w 12192000"/>
              <a:gd name="connsiteY13" fmla="*/ 6525716 h 6858000"/>
              <a:gd name="connsiteX14" fmla="*/ 269875 w 12192000"/>
              <a:gd name="connsiteY14" fmla="*/ 6599460 h 6858000"/>
              <a:gd name="connsiteX15" fmla="*/ 343191 w 12192000"/>
              <a:gd name="connsiteY15" fmla="*/ 6673137 h 6858000"/>
              <a:gd name="connsiteX16" fmla="*/ 411345 w 12192000"/>
              <a:gd name="connsiteY16" fmla="*/ 6673137 h 6858000"/>
              <a:gd name="connsiteX17" fmla="*/ 411345 w 12192000"/>
              <a:gd name="connsiteY17" fmla="*/ 6611710 h 6858000"/>
              <a:gd name="connsiteX18" fmla="*/ 448201 w 12192000"/>
              <a:gd name="connsiteY18" fmla="*/ 6611710 h 6858000"/>
              <a:gd name="connsiteX19" fmla="*/ 448201 w 12192000"/>
              <a:gd name="connsiteY19" fmla="*/ 6673115 h 6858000"/>
              <a:gd name="connsiteX20" fmla="*/ 546511 w 12192000"/>
              <a:gd name="connsiteY20" fmla="*/ 6673115 h 6858000"/>
              <a:gd name="connsiteX21" fmla="*/ 558789 w 12192000"/>
              <a:gd name="connsiteY21" fmla="*/ 6648549 h 6858000"/>
              <a:gd name="connsiteX22" fmla="*/ 472778 w 12192000"/>
              <a:gd name="connsiteY22" fmla="*/ 6648549 h 6858000"/>
              <a:gd name="connsiteX23" fmla="*/ 472778 w 12192000"/>
              <a:gd name="connsiteY23" fmla="*/ 6611710 h 6858000"/>
              <a:gd name="connsiteX24" fmla="*/ 601663 w 12192000"/>
              <a:gd name="connsiteY24" fmla="*/ 6611710 h 6858000"/>
              <a:gd name="connsiteX25" fmla="*/ 571089 w 12192000"/>
              <a:gd name="connsiteY25" fmla="*/ 6673115 h 6858000"/>
              <a:gd name="connsiteX26" fmla="*/ 598412 w 12192000"/>
              <a:gd name="connsiteY26" fmla="*/ 6673115 h 6858000"/>
              <a:gd name="connsiteX27" fmla="*/ 629140 w 12192000"/>
              <a:gd name="connsiteY27" fmla="*/ 6611710 h 6858000"/>
              <a:gd name="connsiteX28" fmla="*/ 681678 w 12192000"/>
              <a:gd name="connsiteY28" fmla="*/ 6611710 h 6858000"/>
              <a:gd name="connsiteX29" fmla="*/ 669400 w 12192000"/>
              <a:gd name="connsiteY29" fmla="*/ 6587165 h 6858000"/>
              <a:gd name="connsiteX30" fmla="*/ 349890 w 12192000"/>
              <a:gd name="connsiteY30" fmla="*/ 6587143 h 6858000"/>
              <a:gd name="connsiteX31" fmla="*/ 337612 w 12192000"/>
              <a:gd name="connsiteY31" fmla="*/ 6611710 h 6858000"/>
              <a:gd name="connsiteX32" fmla="*/ 386767 w 12192000"/>
              <a:gd name="connsiteY32" fmla="*/ 6611710 h 6858000"/>
              <a:gd name="connsiteX33" fmla="*/ 386767 w 12192000"/>
              <a:gd name="connsiteY33" fmla="*/ 6648549 h 6858000"/>
              <a:gd name="connsiteX34" fmla="*/ 343191 w 12192000"/>
              <a:gd name="connsiteY34" fmla="*/ 6648549 h 6858000"/>
              <a:gd name="connsiteX35" fmla="*/ 294343 w 12192000"/>
              <a:gd name="connsiteY35" fmla="*/ 6599438 h 6858000"/>
              <a:gd name="connsiteX36" fmla="*/ 343191 w 12192000"/>
              <a:gd name="connsiteY36" fmla="*/ 6550305 h 6858000"/>
              <a:gd name="connsiteX37" fmla="*/ 399001 w 12192000"/>
              <a:gd name="connsiteY37" fmla="*/ 6550305 h 6858000"/>
              <a:gd name="connsiteX38" fmla="*/ 399001 w 12192000"/>
              <a:gd name="connsiteY38" fmla="*/ 6525716 h 6858000"/>
              <a:gd name="connsiteX39" fmla="*/ 0 w 12192000"/>
              <a:gd name="connsiteY39" fmla="*/ 0 h 6858000"/>
              <a:gd name="connsiteX40" fmla="*/ 12192000 w 12192000"/>
              <a:gd name="connsiteY40" fmla="*/ 0 h 6858000"/>
              <a:gd name="connsiteX41" fmla="*/ 12192000 w 12192000"/>
              <a:gd name="connsiteY41" fmla="*/ 6858000 h 6858000"/>
              <a:gd name="connsiteX42" fmla="*/ 0 w 12192000"/>
              <a:gd name="connsiteY4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192000" h="6858000">
                <a:moveTo>
                  <a:pt x="644822" y="6525737"/>
                </a:moveTo>
                <a:lnTo>
                  <a:pt x="620244" y="6574870"/>
                </a:lnTo>
                <a:lnTo>
                  <a:pt x="647589" y="6574870"/>
                </a:lnTo>
                <a:lnTo>
                  <a:pt x="663359" y="6543410"/>
                </a:lnTo>
                <a:lnTo>
                  <a:pt x="728153" y="6673136"/>
                </a:lnTo>
                <a:lnTo>
                  <a:pt x="755498" y="6673136"/>
                </a:lnTo>
                <a:lnTo>
                  <a:pt x="681699" y="6525737"/>
                </a:lnTo>
                <a:close/>
                <a:moveTo>
                  <a:pt x="448200" y="6525716"/>
                </a:moveTo>
                <a:lnTo>
                  <a:pt x="448200" y="6574871"/>
                </a:lnTo>
                <a:lnTo>
                  <a:pt x="472778" y="6574871"/>
                </a:lnTo>
                <a:lnTo>
                  <a:pt x="472778" y="6550305"/>
                </a:lnTo>
                <a:lnTo>
                  <a:pt x="558811" y="6550305"/>
                </a:lnTo>
                <a:lnTo>
                  <a:pt x="558811" y="6525738"/>
                </a:lnTo>
                <a:close/>
                <a:moveTo>
                  <a:pt x="343191" y="6525716"/>
                </a:moveTo>
                <a:cubicBezTo>
                  <a:pt x="302777" y="6525716"/>
                  <a:pt x="269875" y="6558801"/>
                  <a:pt x="269875" y="6599460"/>
                </a:cubicBezTo>
                <a:cubicBezTo>
                  <a:pt x="269875" y="6640096"/>
                  <a:pt x="302777" y="6673137"/>
                  <a:pt x="343191" y="6673137"/>
                </a:cubicBezTo>
                <a:lnTo>
                  <a:pt x="411345" y="6673137"/>
                </a:lnTo>
                <a:lnTo>
                  <a:pt x="411345" y="6611710"/>
                </a:lnTo>
                <a:lnTo>
                  <a:pt x="448201" y="6611710"/>
                </a:lnTo>
                <a:lnTo>
                  <a:pt x="448201" y="6673115"/>
                </a:lnTo>
                <a:lnTo>
                  <a:pt x="546511" y="6673115"/>
                </a:lnTo>
                <a:lnTo>
                  <a:pt x="558789" y="6648549"/>
                </a:lnTo>
                <a:lnTo>
                  <a:pt x="472778" y="6648549"/>
                </a:lnTo>
                <a:lnTo>
                  <a:pt x="472778" y="6611710"/>
                </a:lnTo>
                <a:lnTo>
                  <a:pt x="601663" y="6611710"/>
                </a:lnTo>
                <a:lnTo>
                  <a:pt x="571089" y="6673115"/>
                </a:lnTo>
                <a:lnTo>
                  <a:pt x="598412" y="6673115"/>
                </a:lnTo>
                <a:lnTo>
                  <a:pt x="629140" y="6611710"/>
                </a:lnTo>
                <a:lnTo>
                  <a:pt x="681678" y="6611710"/>
                </a:lnTo>
                <a:lnTo>
                  <a:pt x="669400" y="6587165"/>
                </a:lnTo>
                <a:lnTo>
                  <a:pt x="349890" y="6587143"/>
                </a:lnTo>
                <a:lnTo>
                  <a:pt x="337612" y="6611710"/>
                </a:lnTo>
                <a:lnTo>
                  <a:pt x="386767" y="6611710"/>
                </a:lnTo>
                <a:lnTo>
                  <a:pt x="386767" y="6648549"/>
                </a:lnTo>
                <a:lnTo>
                  <a:pt x="343191" y="6648549"/>
                </a:lnTo>
                <a:cubicBezTo>
                  <a:pt x="316263" y="6648549"/>
                  <a:pt x="294343" y="6626617"/>
                  <a:pt x="294343" y="6599438"/>
                </a:cubicBezTo>
                <a:cubicBezTo>
                  <a:pt x="294343" y="6572259"/>
                  <a:pt x="316263" y="6550305"/>
                  <a:pt x="343191" y="6550305"/>
                </a:cubicBezTo>
                <a:lnTo>
                  <a:pt x="399001" y="6550305"/>
                </a:lnTo>
                <a:lnTo>
                  <a:pt x="399001" y="652571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C2805F5-06CE-4348-A1F9-BF670A9B853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36DFCDE0-9156-4104-87FE-3A0EC360950A}" type="datetime4">
              <a:rPr lang="en-US" smtClean="0"/>
              <a:t>July 4, 2024</a:t>
            </a:fld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0AD82894-4E7C-4FF2-87D4-2C601C3628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CD623280-8450-4A1B-9617-8BF985EFD52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CA1F3B6-A97A-47EE-991B-1314BC0F86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anchor="b">
            <a:spAutoFit/>
          </a:bodyPr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US"/>
              <a:t>CHAPTER SLID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B1C0781-E49D-47FA-BA90-FA87BB6107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line optional Inter Medium 16pt</a:t>
            </a:r>
          </a:p>
        </p:txBody>
      </p:sp>
    </p:spTree>
    <p:extLst>
      <p:ext uri="{BB962C8B-B14F-4D97-AF65-F5344CB8AC3E}">
        <p14:creationId xmlns:p14="http://schemas.microsoft.com/office/powerpoint/2010/main" val="33201756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white -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3747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11664950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11664950" cy="307777"/>
          </a:xfrm>
        </p:spPr>
        <p:txBody>
          <a:bodyPr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11664950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D49D087-F4ED-424A-931A-61F63F962B1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F4237638-58C1-4EC2-AB98-BF3FE2547C38}" type="datetime4">
              <a:rPr lang="en-US" smtClean="0"/>
              <a:t>July 4, 2024</a:t>
            </a:fld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F4651464-1791-4D7F-B9EE-E471643D310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60902CC-7D63-44DC-806E-574173E7A02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C5D895-28C4-4B86-A0EC-906A17671C6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8"/>
            <a:ext cx="1166495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2723182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white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2969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11664950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11664950" cy="307777"/>
          </a:xfrm>
        </p:spPr>
        <p:txBody>
          <a:bodyPr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11664950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202A20E-AD24-4C09-A31C-70CC298BB47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0F9E3991-71E8-4BFA-A46C-1C20C0A1A286}" type="datetime4">
              <a:rPr lang="en-US" smtClean="0"/>
              <a:t>July 4, 2024</a:t>
            </a:fld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8F33CD6A-6E9C-4046-9EFD-29FFB3ADA69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7BCA531-50E1-459F-9902-226C79E48AB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20C5181-D230-4E7B-9815-0404DB7CF4C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8"/>
            <a:ext cx="5653088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8F86F89-DEAE-4DDE-8897-CBED0ACF896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75388" y="1449388"/>
            <a:ext cx="5653087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3135347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white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9317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11664950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11664950" cy="307777"/>
          </a:xfrm>
        </p:spPr>
        <p:txBody>
          <a:bodyPr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11664950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4F3BAD0D-E0FE-4D18-9B8A-FDB96EA06853}" type="datetime4">
              <a:rPr lang="en-US" smtClean="0"/>
              <a:t>July 4, 2024</a:t>
            </a:fld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47A41DD-F5FB-4463-81C4-5544710E4A2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7"/>
            <a:ext cx="3671888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3523357-129A-4D5A-B1F8-45EB1EF8015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59263" y="1449388"/>
            <a:ext cx="3671887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24C6F04E-A06C-46A7-923B-A4C78431FAD5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256588" y="1449388"/>
            <a:ext cx="3671887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1095686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white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0757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7506E5E-E6D2-410C-8351-E1402ED2C7F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6" y="229880"/>
            <a:ext cx="5653087" cy="461665"/>
          </a:xfrm>
        </p:spPr>
        <p:txBody>
          <a:bodyPr vert="horz" wrap="square">
            <a:noAutofit/>
          </a:bodyPr>
          <a:lstStyle>
            <a:lvl1pPr rtl="0">
              <a:defRPr/>
            </a:lvl1pPr>
          </a:lstStyle>
          <a:p>
            <a:r>
              <a:rPr lang="en-US"/>
              <a:t>Headline Inter Medium bold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5653088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5652000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26AFF5D4-C8F2-4A8E-BCBF-E70F0E4B85C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534CE58D-EF91-46D5-9AED-CEBFD3408ED8}" type="datetime4">
              <a:rPr lang="en-US" smtClean="0"/>
              <a:t>July 4, 2024</a:t>
            </a:fld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E27BBFCD-08EE-446E-8CDF-2A38890B78E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7DE4462-9FDC-4399-B396-EAA162F607C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0C9AA55-153A-48B5-9FD1-9F6DC42F82C1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263525" y="1449388"/>
            <a:ext cx="5653088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244338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  <p15:guide id="9" pos="3840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blue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6612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34F4A8EE-9682-47B2-8EA8-33DB4E9CCB5E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6" y="229880"/>
            <a:ext cx="5653088" cy="461665"/>
          </a:xfrm>
        </p:spPr>
        <p:txBody>
          <a:bodyPr vert="horz" wrap="square">
            <a:noAutofit/>
          </a:bodyPr>
          <a:lstStyle>
            <a:lvl1pPr rtl="0">
              <a:defRPr/>
            </a:lvl1pPr>
          </a:lstStyle>
          <a:p>
            <a:r>
              <a:rPr lang="en-US"/>
              <a:t>Headline Inter Medium bold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5653088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5653088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BF294DF-DAFC-42FF-BBAC-51DAA239F35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3ECFAB02-837E-4B1D-941F-EE14A0AF690C}" type="datetime4">
              <a:rPr lang="en-US" smtClean="0"/>
              <a:t>July 4, 2024</a:t>
            </a:fld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7673AD8A-8F22-467C-A617-15D2C69FC6B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69CB0FF0-C14E-4567-8E9E-F2E71915944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E2A9B68-DB9E-48EB-B87D-D33ECC31E8D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8"/>
            <a:ext cx="56515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1C7D69FD-CF0F-41C1-877A-74075006E8BA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75388" y="1449388"/>
            <a:ext cx="5651500" cy="4500562"/>
          </a:xfrm>
        </p:spPr>
        <p:txBody>
          <a:bodyPr/>
          <a:lstStyle>
            <a:lvl1pPr rtl="0"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13707788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  <p15:guide id="9" pos="3840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blue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2226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CF7D173B-4D49-4B2F-A470-A04AACB0FE96}"/>
              </a:ext>
            </a:extLst>
          </p:cNvPr>
          <p:cNvSpPr>
            <a:spLocks/>
          </p:cNvSpPr>
          <p:nvPr/>
        </p:nvSpPr>
        <p:spPr>
          <a:xfrm>
            <a:off x="8088000" y="0"/>
            <a:ext cx="410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7668634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7668634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7669213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952630E6-8C0B-4C74-8F5B-9DA1BED5F1C5}" type="datetime4">
              <a:rPr lang="en-US" smtClean="0"/>
              <a:t>July 4, 2024</a:t>
            </a:fld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FD27395-3F27-41C0-996C-1E32579BE62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DC5BBCF9-0800-4F77-B2EF-E97E279E65D9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59263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F5BEEB53-DF1B-4C20-9973-2B5AAFCCD30D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256588" y="1449388"/>
            <a:ext cx="3670300" cy="4500562"/>
          </a:xfrm>
        </p:spPr>
        <p:txBody>
          <a:bodyPr/>
          <a:lstStyle>
            <a:lvl1pPr rtl="0"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41517625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white - 2 columns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0502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94AD4C86-8B13-4FCD-966D-856B66F5CD0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88000" y="0"/>
            <a:ext cx="4104000" cy="6858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7668634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7668634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7669213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CEC98977-7E72-4268-B9FE-1DF87FAEB9DC}" type="datetime4">
              <a:rPr lang="en-US" smtClean="0"/>
              <a:t>July 4, 2024</a:t>
            </a:fld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57C92EA-99DA-4F08-BCA6-FEEF81DEE93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263525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F4112BB7-D218-4D9F-87BF-7FAE2DDB1DF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259263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1418785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white - 2 columns &amp; patter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0191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CF7D173B-4D49-4B2F-A470-A04AACB0FE96}"/>
              </a:ext>
            </a:extLst>
          </p:cNvPr>
          <p:cNvSpPr>
            <a:spLocks/>
          </p:cNvSpPr>
          <p:nvPr/>
        </p:nvSpPr>
        <p:spPr>
          <a:xfrm>
            <a:off x="8088000" y="0"/>
            <a:ext cx="410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pic>
        <p:nvPicPr>
          <p:cNvPr id="16" name="Grafik 15" descr="Ein Bild, das drinnen, Outdoorobjekt, Spinnennetz enthält.&#10;&#10;Automatisch generierte Beschreibung">
            <a:extLst>
              <a:ext uri="{FF2B5EF4-FFF2-40B4-BE49-F238E27FC236}">
                <a16:creationId xmlns:a16="http://schemas.microsoft.com/office/drawing/2014/main" id="{74C1059C-7582-4CB3-B8EE-C027A5FC477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4358" t="-253"/>
          <a:stretch/>
        </p:blipFill>
        <p:spPr>
          <a:xfrm flipH="1">
            <a:off x="8088000" y="590018"/>
            <a:ext cx="4104000" cy="626798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7668634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7668634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7669213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A840CC39-FC33-49BF-8A58-9DDA819060DB}" type="datetime4">
              <a:rPr lang="en-US" smtClean="0"/>
              <a:t>July 4, 2024</a:t>
            </a:fld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0142F50-7DA1-44CF-B670-5CE7B413E896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E1F52021-9479-4A18-985F-4AA1F4BFF19A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59263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690438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- blue - pictu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2909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92F8E679-E260-49EB-A3CA-F368C0674365}"/>
              </a:ext>
            </a:extLst>
          </p:cNvPr>
          <p:cNvGrpSpPr/>
          <p:nvPr/>
        </p:nvGrpSpPr>
        <p:grpSpPr>
          <a:xfrm>
            <a:off x="270000" y="270000"/>
            <a:ext cx="1346400" cy="244836"/>
            <a:chOff x="270000" y="270000"/>
            <a:chExt cx="1346400" cy="244836"/>
          </a:xfrm>
        </p:grpSpPr>
        <p:sp>
          <p:nvSpPr>
            <p:cNvPr id="86" name="Freihandform 42">
              <a:extLst>
                <a:ext uri="{FF2B5EF4-FFF2-40B4-BE49-F238E27FC236}">
                  <a16:creationId xmlns:a16="http://schemas.microsoft.com/office/drawing/2014/main" id="{C78A4FAC-CC44-4149-A771-0D69677F7ECA}"/>
                </a:ext>
              </a:extLst>
            </p:cNvPr>
            <p:cNvSpPr/>
            <p:nvPr/>
          </p:nvSpPr>
          <p:spPr bwMode="invGray">
            <a:xfrm>
              <a:off x="846965" y="272507"/>
              <a:ext cx="222709" cy="241364"/>
            </a:xfrm>
            <a:custGeom>
              <a:avLst/>
              <a:gdLst>
                <a:gd name="connsiteX0" fmla="*/ 462697 w 1018566"/>
                <a:gd name="connsiteY0" fmla="*/ 0 h 1103885"/>
                <a:gd name="connsiteX1" fmla="*/ 185079 w 1018566"/>
                <a:gd name="connsiteY1" fmla="*/ 0 h 1103885"/>
                <a:gd name="connsiteX2" fmla="*/ 0 w 1018566"/>
                <a:gd name="connsiteY2" fmla="*/ 368046 h 1103885"/>
                <a:gd name="connsiteX3" fmla="*/ 205995 w 1018566"/>
                <a:gd name="connsiteY3" fmla="*/ 368046 h 1103885"/>
                <a:gd name="connsiteX4" fmla="*/ 324648 w 1018566"/>
                <a:gd name="connsiteY4" fmla="*/ 132300 h 1103885"/>
                <a:gd name="connsiteX5" fmla="*/ 812698 w 1018566"/>
                <a:gd name="connsiteY5" fmla="*/ 1103886 h 1103885"/>
                <a:gd name="connsiteX6" fmla="*/ 1018566 w 1018566"/>
                <a:gd name="connsiteY6" fmla="*/ 1103886 h 1103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8566" h="1103885">
                  <a:moveTo>
                    <a:pt x="462697" y="0"/>
                  </a:moveTo>
                  <a:lnTo>
                    <a:pt x="185079" y="0"/>
                  </a:lnTo>
                  <a:lnTo>
                    <a:pt x="0" y="368046"/>
                  </a:lnTo>
                  <a:lnTo>
                    <a:pt x="205995" y="368046"/>
                  </a:lnTo>
                  <a:lnTo>
                    <a:pt x="324648" y="132300"/>
                  </a:lnTo>
                  <a:lnTo>
                    <a:pt x="812698" y="1103886"/>
                  </a:lnTo>
                  <a:lnTo>
                    <a:pt x="1018566" y="1103886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7" name="Freihandform 43">
              <a:extLst>
                <a:ext uri="{FF2B5EF4-FFF2-40B4-BE49-F238E27FC236}">
                  <a16:creationId xmlns:a16="http://schemas.microsoft.com/office/drawing/2014/main" id="{DE7A47C8-1A17-47CB-B506-734C6F33ACE4}"/>
                </a:ext>
              </a:extLst>
            </p:cNvPr>
            <p:cNvSpPr/>
            <p:nvPr/>
          </p:nvSpPr>
          <p:spPr bwMode="invGray">
            <a:xfrm>
              <a:off x="270000" y="272479"/>
              <a:ext cx="678133" cy="241392"/>
            </a:xfrm>
            <a:custGeom>
              <a:avLst/>
              <a:gdLst>
                <a:gd name="connsiteX0" fmla="*/ 3008922 w 3101461"/>
                <a:gd name="connsiteY0" fmla="*/ 460152 h 1104011"/>
                <a:gd name="connsiteX1" fmla="*/ 602646 w 3101461"/>
                <a:gd name="connsiteY1" fmla="*/ 460152 h 1104011"/>
                <a:gd name="connsiteX2" fmla="*/ 510107 w 3101461"/>
                <a:gd name="connsiteY2" fmla="*/ 644112 h 1104011"/>
                <a:gd name="connsiteX3" fmla="*/ 880264 w 3101461"/>
                <a:gd name="connsiteY3" fmla="*/ 644112 h 1104011"/>
                <a:gd name="connsiteX4" fmla="*/ 880264 w 3101461"/>
                <a:gd name="connsiteY4" fmla="*/ 920052 h 1104011"/>
                <a:gd name="connsiteX5" fmla="*/ 552193 w 3101461"/>
                <a:gd name="connsiteY5" fmla="*/ 920052 h 1104011"/>
                <a:gd name="connsiteX6" fmla="*/ 184191 w 3101461"/>
                <a:gd name="connsiteY6" fmla="*/ 552258 h 1104011"/>
                <a:gd name="connsiteX7" fmla="*/ 552193 w 3101461"/>
                <a:gd name="connsiteY7" fmla="*/ 184086 h 1104011"/>
                <a:gd name="connsiteX8" fmla="*/ 972550 w 3101461"/>
                <a:gd name="connsiteY8" fmla="*/ 184086 h 1104011"/>
                <a:gd name="connsiteX9" fmla="*/ 972550 w 3101461"/>
                <a:gd name="connsiteY9" fmla="*/ 0 h 1104011"/>
                <a:gd name="connsiteX10" fmla="*/ 552193 w 3101461"/>
                <a:gd name="connsiteY10" fmla="*/ 0 h 1104011"/>
                <a:gd name="connsiteX11" fmla="*/ 0 w 3101461"/>
                <a:gd name="connsiteY11" fmla="*/ 552258 h 1104011"/>
                <a:gd name="connsiteX12" fmla="*/ 552193 w 3101461"/>
                <a:gd name="connsiteY12" fmla="*/ 1104012 h 1104011"/>
                <a:gd name="connsiteX13" fmla="*/ 1065470 w 3101461"/>
                <a:gd name="connsiteY13" fmla="*/ 1104012 h 1104011"/>
                <a:gd name="connsiteX14" fmla="*/ 1065470 w 3101461"/>
                <a:gd name="connsiteY14" fmla="*/ 644112 h 1104011"/>
                <a:gd name="connsiteX15" fmla="*/ 1343088 w 3101461"/>
                <a:gd name="connsiteY15" fmla="*/ 644112 h 1104011"/>
                <a:gd name="connsiteX16" fmla="*/ 1343088 w 3101461"/>
                <a:gd name="connsiteY16" fmla="*/ 1104012 h 1104011"/>
                <a:gd name="connsiteX17" fmla="*/ 2083529 w 3101461"/>
                <a:gd name="connsiteY17" fmla="*/ 1104012 h 1104011"/>
                <a:gd name="connsiteX18" fmla="*/ 2176068 w 3101461"/>
                <a:gd name="connsiteY18" fmla="*/ 920052 h 1104011"/>
                <a:gd name="connsiteX19" fmla="*/ 1528166 w 3101461"/>
                <a:gd name="connsiteY19" fmla="*/ 920052 h 1104011"/>
                <a:gd name="connsiteX20" fmla="*/ 1528166 w 3101461"/>
                <a:gd name="connsiteY20" fmla="*/ 644112 h 1104011"/>
                <a:gd name="connsiteX21" fmla="*/ 2498815 w 3101461"/>
                <a:gd name="connsiteY21" fmla="*/ 644112 h 1104011"/>
                <a:gd name="connsiteX22" fmla="*/ 2268608 w 3101461"/>
                <a:gd name="connsiteY22" fmla="*/ 1104012 h 1104011"/>
                <a:gd name="connsiteX23" fmla="*/ 2474476 w 3101461"/>
                <a:gd name="connsiteY23" fmla="*/ 1104012 h 1104011"/>
                <a:gd name="connsiteX24" fmla="*/ 2705824 w 3101461"/>
                <a:gd name="connsiteY24" fmla="*/ 644112 h 1104011"/>
                <a:gd name="connsiteX25" fmla="*/ 3101461 w 3101461"/>
                <a:gd name="connsiteY25" fmla="*/ 644112 h 1104011"/>
                <a:gd name="connsiteX26" fmla="*/ 3008922 w 3101461"/>
                <a:gd name="connsiteY26" fmla="*/ 460152 h 110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01461" h="1104011">
                  <a:moveTo>
                    <a:pt x="3008922" y="460152"/>
                  </a:moveTo>
                  <a:lnTo>
                    <a:pt x="602646" y="460152"/>
                  </a:lnTo>
                  <a:lnTo>
                    <a:pt x="510107" y="644112"/>
                  </a:lnTo>
                  <a:lnTo>
                    <a:pt x="880264" y="644112"/>
                  </a:lnTo>
                  <a:lnTo>
                    <a:pt x="880264" y="920052"/>
                  </a:lnTo>
                  <a:lnTo>
                    <a:pt x="552193" y="920052"/>
                  </a:lnTo>
                  <a:cubicBezTo>
                    <a:pt x="349368" y="920052"/>
                    <a:pt x="184191" y="755748"/>
                    <a:pt x="184191" y="552258"/>
                  </a:cubicBezTo>
                  <a:cubicBezTo>
                    <a:pt x="184191" y="348768"/>
                    <a:pt x="349241" y="184086"/>
                    <a:pt x="552193" y="184086"/>
                  </a:cubicBezTo>
                  <a:lnTo>
                    <a:pt x="972550" y="184086"/>
                  </a:lnTo>
                  <a:lnTo>
                    <a:pt x="972550" y="0"/>
                  </a:lnTo>
                  <a:lnTo>
                    <a:pt x="552193" y="0"/>
                  </a:lnTo>
                  <a:cubicBezTo>
                    <a:pt x="247701" y="0"/>
                    <a:pt x="0" y="247716"/>
                    <a:pt x="0" y="552258"/>
                  </a:cubicBezTo>
                  <a:cubicBezTo>
                    <a:pt x="0" y="856800"/>
                    <a:pt x="247701" y="1104012"/>
                    <a:pt x="552193" y="1104012"/>
                  </a:cubicBezTo>
                  <a:lnTo>
                    <a:pt x="1065470" y="1104012"/>
                  </a:lnTo>
                  <a:lnTo>
                    <a:pt x="1065470" y="644112"/>
                  </a:lnTo>
                  <a:lnTo>
                    <a:pt x="1343088" y="644112"/>
                  </a:lnTo>
                  <a:lnTo>
                    <a:pt x="1343088" y="1104012"/>
                  </a:lnTo>
                  <a:lnTo>
                    <a:pt x="2083529" y="1104012"/>
                  </a:lnTo>
                  <a:lnTo>
                    <a:pt x="2176068" y="920052"/>
                  </a:lnTo>
                  <a:lnTo>
                    <a:pt x="1528166" y="920052"/>
                  </a:lnTo>
                  <a:lnTo>
                    <a:pt x="1528166" y="644112"/>
                  </a:lnTo>
                  <a:lnTo>
                    <a:pt x="2498815" y="644112"/>
                  </a:lnTo>
                  <a:lnTo>
                    <a:pt x="2268608" y="1104012"/>
                  </a:lnTo>
                  <a:lnTo>
                    <a:pt x="2474476" y="1104012"/>
                  </a:lnTo>
                  <a:lnTo>
                    <a:pt x="2705824" y="644112"/>
                  </a:lnTo>
                  <a:lnTo>
                    <a:pt x="3101461" y="644112"/>
                  </a:lnTo>
                  <a:lnTo>
                    <a:pt x="3008922" y="46015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8" name="Freihandform 46">
              <a:extLst>
                <a:ext uri="{FF2B5EF4-FFF2-40B4-BE49-F238E27FC236}">
                  <a16:creationId xmlns:a16="http://schemas.microsoft.com/office/drawing/2014/main" id="{F6980514-C5C3-4070-9D53-3F4B40A250FD}"/>
                </a:ext>
              </a:extLst>
            </p:cNvPr>
            <p:cNvSpPr/>
            <p:nvPr/>
          </p:nvSpPr>
          <p:spPr bwMode="invGray">
            <a:xfrm>
              <a:off x="563638" y="272479"/>
              <a:ext cx="182159" cy="80501"/>
            </a:xfrm>
            <a:custGeom>
              <a:avLst/>
              <a:gdLst>
                <a:gd name="connsiteX0" fmla="*/ 185205 w 833107"/>
                <a:gd name="connsiteY0" fmla="*/ 184086 h 368172"/>
                <a:gd name="connsiteX1" fmla="*/ 833107 w 833107"/>
                <a:gd name="connsiteY1" fmla="*/ 184212 h 368172"/>
                <a:gd name="connsiteX2" fmla="*/ 833107 w 833107"/>
                <a:gd name="connsiteY2" fmla="*/ 126 h 368172"/>
                <a:gd name="connsiteX3" fmla="*/ 0 w 833107"/>
                <a:gd name="connsiteY3" fmla="*/ 0 h 368172"/>
                <a:gd name="connsiteX4" fmla="*/ 0 w 833107"/>
                <a:gd name="connsiteY4" fmla="*/ 368172 h 368172"/>
                <a:gd name="connsiteX5" fmla="*/ 185205 w 833107"/>
                <a:gd name="connsiteY5" fmla="*/ 368172 h 36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3107" h="368172">
                  <a:moveTo>
                    <a:pt x="185205" y="184086"/>
                  </a:moveTo>
                  <a:lnTo>
                    <a:pt x="833107" y="184212"/>
                  </a:lnTo>
                  <a:lnTo>
                    <a:pt x="833107" y="126"/>
                  </a:lnTo>
                  <a:lnTo>
                    <a:pt x="0" y="0"/>
                  </a:lnTo>
                  <a:lnTo>
                    <a:pt x="0" y="368172"/>
                  </a:lnTo>
                  <a:lnTo>
                    <a:pt x="185205" y="36817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7" name="Freihandform 13">
              <a:extLst>
                <a:ext uri="{FF2B5EF4-FFF2-40B4-BE49-F238E27FC236}">
                  <a16:creationId xmlns:a16="http://schemas.microsoft.com/office/drawing/2014/main" id="{5F79A0FA-6215-4C9E-88D3-6859B5F32E15}"/>
                </a:ext>
              </a:extLst>
            </p:cNvPr>
            <p:cNvSpPr/>
            <p:nvPr/>
          </p:nvSpPr>
          <p:spPr bwMode="invGray">
            <a:xfrm>
              <a:off x="1130320" y="272535"/>
              <a:ext cx="40440" cy="63502"/>
            </a:xfrm>
            <a:custGeom>
              <a:avLst/>
              <a:gdLst>
                <a:gd name="connsiteX0" fmla="*/ 184952 w 184951"/>
                <a:gd name="connsiteY0" fmla="*/ 252630 h 290429"/>
                <a:gd name="connsiteX1" fmla="*/ 44114 w 184951"/>
                <a:gd name="connsiteY1" fmla="*/ 252630 h 290429"/>
                <a:gd name="connsiteX2" fmla="*/ 44114 w 184951"/>
                <a:gd name="connsiteY2" fmla="*/ 163800 h 290429"/>
                <a:gd name="connsiteX3" fmla="*/ 173669 w 184951"/>
                <a:gd name="connsiteY3" fmla="*/ 163800 h 290429"/>
                <a:gd name="connsiteX4" fmla="*/ 173669 w 184951"/>
                <a:gd name="connsiteY4" fmla="*/ 126252 h 290429"/>
                <a:gd name="connsiteX5" fmla="*/ 44114 w 184951"/>
                <a:gd name="connsiteY5" fmla="*/ 126252 h 290429"/>
                <a:gd name="connsiteX6" fmla="*/ 44114 w 184951"/>
                <a:gd name="connsiteY6" fmla="*/ 37800 h 290429"/>
                <a:gd name="connsiteX7" fmla="*/ 183177 w 184951"/>
                <a:gd name="connsiteY7" fmla="*/ 37800 h 290429"/>
                <a:gd name="connsiteX8" fmla="*/ 183177 w 184951"/>
                <a:gd name="connsiteY8" fmla="*/ 0 h 290429"/>
                <a:gd name="connsiteX9" fmla="*/ 0 w 184951"/>
                <a:gd name="connsiteY9" fmla="*/ 0 h 290429"/>
                <a:gd name="connsiteX10" fmla="*/ 0 w 184951"/>
                <a:gd name="connsiteY10" fmla="*/ 290430 h 290429"/>
                <a:gd name="connsiteX11" fmla="*/ 184952 w 184951"/>
                <a:gd name="connsiteY11" fmla="*/ 290430 h 290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4951" h="290429">
                  <a:moveTo>
                    <a:pt x="184952" y="252630"/>
                  </a:moveTo>
                  <a:lnTo>
                    <a:pt x="44114" y="252630"/>
                  </a:lnTo>
                  <a:lnTo>
                    <a:pt x="44114" y="163800"/>
                  </a:lnTo>
                  <a:lnTo>
                    <a:pt x="173669" y="163800"/>
                  </a:lnTo>
                  <a:lnTo>
                    <a:pt x="173669" y="126252"/>
                  </a:lnTo>
                  <a:lnTo>
                    <a:pt x="44114" y="126252"/>
                  </a:lnTo>
                  <a:lnTo>
                    <a:pt x="44114" y="37800"/>
                  </a:lnTo>
                  <a:lnTo>
                    <a:pt x="183177" y="37800"/>
                  </a:lnTo>
                  <a:lnTo>
                    <a:pt x="183177" y="0"/>
                  </a:lnTo>
                  <a:lnTo>
                    <a:pt x="0" y="0"/>
                  </a:lnTo>
                  <a:lnTo>
                    <a:pt x="0" y="290430"/>
                  </a:lnTo>
                  <a:lnTo>
                    <a:pt x="184952" y="29043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8" name="Freihandform 14">
              <a:extLst>
                <a:ext uri="{FF2B5EF4-FFF2-40B4-BE49-F238E27FC236}">
                  <a16:creationId xmlns:a16="http://schemas.microsoft.com/office/drawing/2014/main" id="{E57EC58B-2D5D-4877-9B03-E31621E4FFDE}"/>
                </a:ext>
              </a:extLst>
            </p:cNvPr>
            <p:cNvSpPr/>
            <p:nvPr/>
          </p:nvSpPr>
          <p:spPr bwMode="invGray">
            <a:xfrm>
              <a:off x="1182623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665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4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9" name="Freihandform 15">
              <a:extLst>
                <a:ext uri="{FF2B5EF4-FFF2-40B4-BE49-F238E27FC236}">
                  <a16:creationId xmlns:a16="http://schemas.microsoft.com/office/drawing/2014/main" id="{3B593BEE-0095-4972-88AF-BE89E168AFD9}"/>
                </a:ext>
              </a:extLst>
            </p:cNvPr>
            <p:cNvSpPr/>
            <p:nvPr/>
          </p:nvSpPr>
          <p:spPr bwMode="invGray">
            <a:xfrm>
              <a:off x="1232902" y="287797"/>
              <a:ext cx="43821" cy="66974"/>
            </a:xfrm>
            <a:custGeom>
              <a:avLst/>
              <a:gdLst>
                <a:gd name="connsiteX0" fmla="*/ 151739 w 200417"/>
                <a:gd name="connsiteY0" fmla="*/ 297738 h 306306"/>
                <a:gd name="connsiteX1" fmla="*/ 187234 w 200417"/>
                <a:gd name="connsiteY1" fmla="*/ 271152 h 306306"/>
                <a:gd name="connsiteX2" fmla="*/ 200417 w 200417"/>
                <a:gd name="connsiteY2" fmla="*/ 225414 h 306306"/>
                <a:gd name="connsiteX3" fmla="*/ 200417 w 200417"/>
                <a:gd name="connsiteY3" fmla="*/ 2772 h 306306"/>
                <a:gd name="connsiteX4" fmla="*/ 158585 w 200417"/>
                <a:gd name="connsiteY4" fmla="*/ 2772 h 306306"/>
                <a:gd name="connsiteX5" fmla="*/ 158585 w 200417"/>
                <a:gd name="connsiteY5" fmla="*/ 38052 h 306306"/>
                <a:gd name="connsiteX6" fmla="*/ 155415 w 200417"/>
                <a:gd name="connsiteY6" fmla="*/ 38052 h 306306"/>
                <a:gd name="connsiteX7" fmla="*/ 144513 w 200417"/>
                <a:gd name="connsiteY7" fmla="*/ 22302 h 306306"/>
                <a:gd name="connsiteX8" fmla="*/ 124865 w 200417"/>
                <a:gd name="connsiteY8" fmla="*/ 6678 h 306306"/>
                <a:gd name="connsiteX9" fmla="*/ 91905 w 200417"/>
                <a:gd name="connsiteY9" fmla="*/ 0 h 306306"/>
                <a:gd name="connsiteX10" fmla="*/ 44622 w 200417"/>
                <a:gd name="connsiteY10" fmla="*/ 13230 h 306306"/>
                <a:gd name="connsiteX11" fmla="*/ 11916 w 200417"/>
                <a:gd name="connsiteY11" fmla="*/ 51282 h 306306"/>
                <a:gd name="connsiteX12" fmla="*/ 0 w 200417"/>
                <a:gd name="connsiteY12" fmla="*/ 110880 h 306306"/>
                <a:gd name="connsiteX13" fmla="*/ 12043 w 200417"/>
                <a:gd name="connsiteY13" fmla="*/ 169344 h 306306"/>
                <a:gd name="connsiteX14" fmla="*/ 44875 w 200417"/>
                <a:gd name="connsiteY14" fmla="*/ 205254 h 306306"/>
                <a:gd name="connsiteX15" fmla="*/ 91525 w 200417"/>
                <a:gd name="connsiteY15" fmla="*/ 217350 h 306306"/>
                <a:gd name="connsiteX16" fmla="*/ 124231 w 200417"/>
                <a:gd name="connsiteY16" fmla="*/ 211050 h 306306"/>
                <a:gd name="connsiteX17" fmla="*/ 144007 w 200417"/>
                <a:gd name="connsiteY17" fmla="*/ 196308 h 306306"/>
                <a:gd name="connsiteX18" fmla="*/ 155035 w 200417"/>
                <a:gd name="connsiteY18" fmla="*/ 180810 h 306306"/>
                <a:gd name="connsiteX19" fmla="*/ 157697 w 200417"/>
                <a:gd name="connsiteY19" fmla="*/ 180810 h 306306"/>
                <a:gd name="connsiteX20" fmla="*/ 157697 w 200417"/>
                <a:gd name="connsiteY20" fmla="*/ 223650 h 306306"/>
                <a:gd name="connsiteX21" fmla="*/ 141851 w 200417"/>
                <a:gd name="connsiteY21" fmla="*/ 260568 h 306306"/>
                <a:gd name="connsiteX22" fmla="*/ 101793 w 200417"/>
                <a:gd name="connsiteY22" fmla="*/ 272160 h 306306"/>
                <a:gd name="connsiteX23" fmla="*/ 72891 w 200417"/>
                <a:gd name="connsiteY23" fmla="*/ 267246 h 306306"/>
                <a:gd name="connsiteX24" fmla="*/ 55270 w 200417"/>
                <a:gd name="connsiteY24" fmla="*/ 255276 h 306306"/>
                <a:gd name="connsiteX25" fmla="*/ 44875 w 200417"/>
                <a:gd name="connsiteY25" fmla="*/ 242424 h 306306"/>
                <a:gd name="connsiteX26" fmla="*/ 8240 w 200417"/>
                <a:gd name="connsiteY26" fmla="*/ 257418 h 306306"/>
                <a:gd name="connsiteX27" fmla="*/ 25860 w 200417"/>
                <a:gd name="connsiteY27" fmla="*/ 281610 h 306306"/>
                <a:gd name="connsiteX28" fmla="*/ 56411 w 200417"/>
                <a:gd name="connsiteY28" fmla="*/ 299502 h 306306"/>
                <a:gd name="connsiteX29" fmla="*/ 101286 w 200417"/>
                <a:gd name="connsiteY29" fmla="*/ 306306 h 306306"/>
                <a:gd name="connsiteX30" fmla="*/ 151739 w 200417"/>
                <a:gd name="connsiteY30" fmla="*/ 297738 h 306306"/>
                <a:gd name="connsiteX31" fmla="*/ 151612 w 200417"/>
                <a:gd name="connsiteY31" fmla="*/ 148932 h 306306"/>
                <a:gd name="connsiteX32" fmla="*/ 132217 w 200417"/>
                <a:gd name="connsiteY32" fmla="*/ 173628 h 306306"/>
                <a:gd name="connsiteX33" fmla="*/ 101033 w 200417"/>
                <a:gd name="connsiteY33" fmla="*/ 182196 h 306306"/>
                <a:gd name="connsiteX34" fmla="*/ 69214 w 200417"/>
                <a:gd name="connsiteY34" fmla="*/ 173124 h 306306"/>
                <a:gd name="connsiteX35" fmla="*/ 49819 w 200417"/>
                <a:gd name="connsiteY35" fmla="*/ 147924 h 306306"/>
                <a:gd name="connsiteX36" fmla="*/ 43227 w 200417"/>
                <a:gd name="connsiteY36" fmla="*/ 110376 h 306306"/>
                <a:gd name="connsiteX37" fmla="*/ 49693 w 200417"/>
                <a:gd name="connsiteY37" fmla="*/ 72702 h 306306"/>
                <a:gd name="connsiteX38" fmla="*/ 68961 w 200417"/>
                <a:gd name="connsiteY38" fmla="*/ 45990 h 306306"/>
                <a:gd name="connsiteX39" fmla="*/ 101033 w 200417"/>
                <a:gd name="connsiteY39" fmla="*/ 36162 h 306306"/>
                <a:gd name="connsiteX40" fmla="*/ 132471 w 200417"/>
                <a:gd name="connsiteY40" fmla="*/ 45612 h 306306"/>
                <a:gd name="connsiteX41" fmla="*/ 151739 w 200417"/>
                <a:gd name="connsiteY41" fmla="*/ 71820 h 306306"/>
                <a:gd name="connsiteX42" fmla="*/ 158331 w 200417"/>
                <a:gd name="connsiteY42" fmla="*/ 110502 h 306306"/>
                <a:gd name="connsiteX43" fmla="*/ 151612 w 200417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417" h="306306">
                  <a:moveTo>
                    <a:pt x="151739" y="297738"/>
                  </a:moveTo>
                  <a:cubicBezTo>
                    <a:pt x="166571" y="291942"/>
                    <a:pt x="178487" y="283122"/>
                    <a:pt x="187234" y="271152"/>
                  </a:cubicBezTo>
                  <a:cubicBezTo>
                    <a:pt x="195980" y="259182"/>
                    <a:pt x="200417" y="243936"/>
                    <a:pt x="200417" y="225414"/>
                  </a:cubicBezTo>
                  <a:lnTo>
                    <a:pt x="200417" y="2772"/>
                  </a:lnTo>
                  <a:lnTo>
                    <a:pt x="158585" y="2772"/>
                  </a:ln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7" y="196308"/>
                  </a:cubicBezTo>
                  <a:cubicBezTo>
                    <a:pt x="148824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3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20048" y="306306"/>
                    <a:pt x="136781" y="303534"/>
                    <a:pt x="151739" y="297738"/>
                  </a:cubicBezTo>
                  <a:close/>
                  <a:moveTo>
                    <a:pt x="151612" y="148932"/>
                  </a:moveTo>
                  <a:cubicBezTo>
                    <a:pt x="147176" y="159642"/>
                    <a:pt x="140711" y="167832"/>
                    <a:pt x="132217" y="173628"/>
                  </a:cubicBezTo>
                  <a:cubicBezTo>
                    <a:pt x="123724" y="179298"/>
                    <a:pt x="113329" y="182196"/>
                    <a:pt x="101033" y="182196"/>
                  </a:cubicBezTo>
                  <a:cubicBezTo>
                    <a:pt x="88356" y="182196"/>
                    <a:pt x="77708" y="179172"/>
                    <a:pt x="69214" y="173124"/>
                  </a:cubicBezTo>
                  <a:cubicBezTo>
                    <a:pt x="60594" y="167076"/>
                    <a:pt x="54129" y="158634"/>
                    <a:pt x="49819" y="147924"/>
                  </a:cubicBezTo>
                  <a:cubicBezTo>
                    <a:pt x="45383" y="137088"/>
                    <a:pt x="43227" y="124614"/>
                    <a:pt x="43227" y="110376"/>
                  </a:cubicBezTo>
                  <a:cubicBezTo>
                    <a:pt x="43227" y="96516"/>
                    <a:pt x="45383" y="83916"/>
                    <a:pt x="49693" y="72702"/>
                  </a:cubicBezTo>
                  <a:cubicBezTo>
                    <a:pt x="54003" y="61488"/>
                    <a:pt x="60468" y="52542"/>
                    <a:pt x="68961" y="45990"/>
                  </a:cubicBezTo>
                  <a:cubicBezTo>
                    <a:pt x="77454" y="39438"/>
                    <a:pt x="88229" y="36162"/>
                    <a:pt x="101033" y="36162"/>
                  </a:cubicBezTo>
                  <a:cubicBezTo>
                    <a:pt x="113456" y="36162"/>
                    <a:pt x="123977" y="39312"/>
                    <a:pt x="132471" y="45612"/>
                  </a:cubicBezTo>
                  <a:cubicBezTo>
                    <a:pt x="140964" y="51912"/>
                    <a:pt x="147302" y="60606"/>
                    <a:pt x="151739" y="71820"/>
                  </a:cubicBezTo>
                  <a:cubicBezTo>
                    <a:pt x="156049" y="83034"/>
                    <a:pt x="158331" y="95886"/>
                    <a:pt x="158331" y="110502"/>
                  </a:cubicBezTo>
                  <a:cubicBezTo>
                    <a:pt x="158204" y="125370"/>
                    <a:pt x="156049" y="138222"/>
                    <a:pt x="151612" y="14893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0" name="Freihandform 16">
              <a:extLst>
                <a:ext uri="{FF2B5EF4-FFF2-40B4-BE49-F238E27FC236}">
                  <a16:creationId xmlns:a16="http://schemas.microsoft.com/office/drawing/2014/main" id="{61DB7D41-1F3C-4577-8DF3-381E205FC7E3}"/>
                </a:ext>
              </a:extLst>
            </p:cNvPr>
            <p:cNvSpPr/>
            <p:nvPr/>
          </p:nvSpPr>
          <p:spPr bwMode="invGray">
            <a:xfrm>
              <a:off x="1288032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3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057" y="48132"/>
                    <a:pt x="19522" y="50652"/>
                    <a:pt x="26874" y="506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1" name="Freihandform 17">
              <a:extLst>
                <a:ext uri="{FF2B5EF4-FFF2-40B4-BE49-F238E27FC236}">
                  <a16:creationId xmlns:a16="http://schemas.microsoft.com/office/drawing/2014/main" id="{5FAB5E34-4947-4A96-B073-3D90C2A47D69}"/>
                </a:ext>
              </a:extLst>
            </p:cNvPr>
            <p:cNvSpPr/>
            <p:nvPr/>
          </p:nvSpPr>
          <p:spPr bwMode="invGray">
            <a:xfrm>
              <a:off x="1289196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2" name="Freihandform 18">
              <a:extLst>
                <a:ext uri="{FF2B5EF4-FFF2-40B4-BE49-F238E27FC236}">
                  <a16:creationId xmlns:a16="http://schemas.microsoft.com/office/drawing/2014/main" id="{E901DCE8-17C4-4D0F-A0D3-C842B85B34DF}"/>
                </a:ext>
              </a:extLst>
            </p:cNvPr>
            <p:cNvSpPr/>
            <p:nvPr/>
          </p:nvSpPr>
          <p:spPr bwMode="invGray">
            <a:xfrm>
              <a:off x="1311148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792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5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3" name="Freihandform 19">
              <a:extLst>
                <a:ext uri="{FF2B5EF4-FFF2-40B4-BE49-F238E27FC236}">
                  <a16:creationId xmlns:a16="http://schemas.microsoft.com/office/drawing/2014/main" id="{7B705228-D5D6-44EB-AB29-6486B6E45C00}"/>
                </a:ext>
              </a:extLst>
            </p:cNvPr>
            <p:cNvSpPr/>
            <p:nvPr/>
          </p:nvSpPr>
          <p:spPr bwMode="invGray">
            <a:xfrm>
              <a:off x="1361400" y="287852"/>
              <a:ext cx="43350" cy="49149"/>
            </a:xfrm>
            <a:custGeom>
              <a:avLst/>
              <a:gdLst>
                <a:gd name="connsiteX0" fmla="*/ 48424 w 198262"/>
                <a:gd name="connsiteY0" fmla="*/ 210924 h 224783"/>
                <a:gd name="connsiteX1" fmla="*/ 104202 w 198262"/>
                <a:gd name="connsiteY1" fmla="*/ 224784 h 224783"/>
                <a:gd name="connsiteX2" fmla="*/ 146922 w 198262"/>
                <a:gd name="connsiteY2" fmla="*/ 217476 h 224783"/>
                <a:gd name="connsiteX3" fmla="*/ 178106 w 198262"/>
                <a:gd name="connsiteY3" fmla="*/ 196938 h 224783"/>
                <a:gd name="connsiteX4" fmla="*/ 195473 w 198262"/>
                <a:gd name="connsiteY4" fmla="*/ 165942 h 224783"/>
                <a:gd name="connsiteX5" fmla="*/ 155162 w 198262"/>
                <a:gd name="connsiteY5" fmla="*/ 158760 h 224783"/>
                <a:gd name="connsiteX6" fmla="*/ 144006 w 198262"/>
                <a:gd name="connsiteY6" fmla="*/ 175896 h 224783"/>
                <a:gd name="connsiteX7" fmla="*/ 126766 w 198262"/>
                <a:gd name="connsiteY7" fmla="*/ 186354 h 224783"/>
                <a:gd name="connsiteX8" fmla="*/ 104709 w 198262"/>
                <a:gd name="connsiteY8" fmla="*/ 189882 h 224783"/>
                <a:gd name="connsiteX9" fmla="*/ 72003 w 198262"/>
                <a:gd name="connsiteY9" fmla="*/ 181818 h 224783"/>
                <a:gd name="connsiteX10" fmla="*/ 50326 w 198262"/>
                <a:gd name="connsiteY10" fmla="*/ 158508 h 224783"/>
                <a:gd name="connsiteX11" fmla="*/ 42847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424 w 198262"/>
                <a:gd name="connsiteY22" fmla="*/ 210924 h 224783"/>
                <a:gd name="connsiteX23" fmla="*/ 49566 w 198262"/>
                <a:gd name="connsiteY23" fmla="*/ 66150 h 224783"/>
                <a:gd name="connsiteX24" fmla="*/ 70102 w 198262"/>
                <a:gd name="connsiteY24" fmla="*/ 43470 h 224783"/>
                <a:gd name="connsiteX25" fmla="*/ 101413 w 198262"/>
                <a:gd name="connsiteY25" fmla="*/ 34776 h 224783"/>
                <a:gd name="connsiteX26" fmla="*/ 130316 w 198262"/>
                <a:gd name="connsiteY26" fmla="*/ 42336 h 224783"/>
                <a:gd name="connsiteX27" fmla="*/ 149457 w 198262"/>
                <a:gd name="connsiteY27" fmla="*/ 62874 h 224783"/>
                <a:gd name="connsiteX28" fmla="*/ 156303 w 198262"/>
                <a:gd name="connsiteY28" fmla="*/ 92610 h 224783"/>
                <a:gd name="connsiteX29" fmla="*/ 42847 w 198262"/>
                <a:gd name="connsiteY29" fmla="*/ 92610 h 224783"/>
                <a:gd name="connsiteX30" fmla="*/ 49566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424" y="210924"/>
                  </a:moveTo>
                  <a:cubicBezTo>
                    <a:pt x="64017" y="220122"/>
                    <a:pt x="82525" y="224784"/>
                    <a:pt x="104202" y="224784"/>
                  </a:cubicBezTo>
                  <a:cubicBezTo>
                    <a:pt x="120174" y="224784"/>
                    <a:pt x="134372" y="222390"/>
                    <a:pt x="146922" y="217476"/>
                  </a:cubicBezTo>
                  <a:cubicBezTo>
                    <a:pt x="159472" y="212562"/>
                    <a:pt x="169867" y="205758"/>
                    <a:pt x="178106" y="196938"/>
                  </a:cubicBezTo>
                  <a:cubicBezTo>
                    <a:pt x="186473" y="188118"/>
                    <a:pt x="192178" y="177786"/>
                    <a:pt x="195473" y="165942"/>
                  </a:cubicBezTo>
                  <a:lnTo>
                    <a:pt x="155162" y="158760"/>
                  </a:lnTo>
                  <a:cubicBezTo>
                    <a:pt x="152626" y="165564"/>
                    <a:pt x="148823" y="171234"/>
                    <a:pt x="144006" y="175896"/>
                  </a:cubicBezTo>
                  <a:cubicBezTo>
                    <a:pt x="139189" y="180558"/>
                    <a:pt x="133358" y="183960"/>
                    <a:pt x="126766" y="186354"/>
                  </a:cubicBezTo>
                  <a:cubicBezTo>
                    <a:pt x="120048" y="188622"/>
                    <a:pt x="112695" y="189882"/>
                    <a:pt x="104709" y="189882"/>
                  </a:cubicBezTo>
                  <a:cubicBezTo>
                    <a:pt x="92286" y="189882"/>
                    <a:pt x="81384" y="187236"/>
                    <a:pt x="72003" y="181818"/>
                  </a:cubicBezTo>
                  <a:cubicBezTo>
                    <a:pt x="62749" y="176526"/>
                    <a:pt x="55397" y="168714"/>
                    <a:pt x="50326" y="158508"/>
                  </a:cubicBezTo>
                  <a:cubicBezTo>
                    <a:pt x="45509" y="149058"/>
                    <a:pt x="43227" y="137592"/>
                    <a:pt x="42847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0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0916" y="188748"/>
                    <a:pt x="32959" y="201726"/>
                    <a:pt x="48424" y="210924"/>
                  </a:cubicBezTo>
                  <a:close/>
                  <a:moveTo>
                    <a:pt x="49566" y="66150"/>
                  </a:moveTo>
                  <a:cubicBezTo>
                    <a:pt x="54382" y="56826"/>
                    <a:pt x="61228" y="49266"/>
                    <a:pt x="70102" y="43470"/>
                  </a:cubicBezTo>
                  <a:cubicBezTo>
                    <a:pt x="78975" y="37674"/>
                    <a:pt x="89370" y="34776"/>
                    <a:pt x="101413" y="34776"/>
                  </a:cubicBezTo>
                  <a:cubicBezTo>
                    <a:pt x="112442" y="34776"/>
                    <a:pt x="122076" y="37296"/>
                    <a:pt x="130316" y="42336"/>
                  </a:cubicBezTo>
                  <a:cubicBezTo>
                    <a:pt x="138555" y="47376"/>
                    <a:pt x="144894" y="54180"/>
                    <a:pt x="149457" y="62874"/>
                  </a:cubicBezTo>
                  <a:cubicBezTo>
                    <a:pt x="154021" y="71568"/>
                    <a:pt x="156303" y="81396"/>
                    <a:pt x="156303" y="92610"/>
                  </a:cubicBezTo>
                  <a:lnTo>
                    <a:pt x="42847" y="92610"/>
                  </a:lnTo>
                  <a:cubicBezTo>
                    <a:pt x="43354" y="83160"/>
                    <a:pt x="45382" y="74340"/>
                    <a:pt x="49566" y="6615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4" name="Freihandform 20">
              <a:extLst>
                <a:ext uri="{FF2B5EF4-FFF2-40B4-BE49-F238E27FC236}">
                  <a16:creationId xmlns:a16="http://schemas.microsoft.com/office/drawing/2014/main" id="{21E22395-C023-4230-9959-623017CB2A5A}"/>
                </a:ext>
              </a:extLst>
            </p:cNvPr>
            <p:cNvSpPr/>
            <p:nvPr/>
          </p:nvSpPr>
          <p:spPr bwMode="invGray">
            <a:xfrm>
              <a:off x="1412954" y="287852"/>
              <a:ext cx="43350" cy="49149"/>
            </a:xfrm>
            <a:custGeom>
              <a:avLst/>
              <a:gdLst>
                <a:gd name="connsiteX0" fmla="*/ 48552 w 198262"/>
                <a:gd name="connsiteY0" fmla="*/ 210924 h 224783"/>
                <a:gd name="connsiteX1" fmla="*/ 104329 w 198262"/>
                <a:gd name="connsiteY1" fmla="*/ 224784 h 224783"/>
                <a:gd name="connsiteX2" fmla="*/ 147049 w 198262"/>
                <a:gd name="connsiteY2" fmla="*/ 217476 h 224783"/>
                <a:gd name="connsiteX3" fmla="*/ 178234 w 198262"/>
                <a:gd name="connsiteY3" fmla="*/ 196938 h 224783"/>
                <a:gd name="connsiteX4" fmla="*/ 195601 w 198262"/>
                <a:gd name="connsiteY4" fmla="*/ 165942 h 224783"/>
                <a:gd name="connsiteX5" fmla="*/ 155289 w 198262"/>
                <a:gd name="connsiteY5" fmla="*/ 158760 h 224783"/>
                <a:gd name="connsiteX6" fmla="*/ 144133 w 198262"/>
                <a:gd name="connsiteY6" fmla="*/ 175896 h 224783"/>
                <a:gd name="connsiteX7" fmla="*/ 126893 w 198262"/>
                <a:gd name="connsiteY7" fmla="*/ 186354 h 224783"/>
                <a:gd name="connsiteX8" fmla="*/ 104836 w 198262"/>
                <a:gd name="connsiteY8" fmla="*/ 189882 h 224783"/>
                <a:gd name="connsiteX9" fmla="*/ 72130 w 198262"/>
                <a:gd name="connsiteY9" fmla="*/ 181818 h 224783"/>
                <a:gd name="connsiteX10" fmla="*/ 50453 w 198262"/>
                <a:gd name="connsiteY10" fmla="*/ 158508 h 224783"/>
                <a:gd name="connsiteX11" fmla="*/ 42974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552 w 198262"/>
                <a:gd name="connsiteY22" fmla="*/ 210924 h 224783"/>
                <a:gd name="connsiteX23" fmla="*/ 49693 w 198262"/>
                <a:gd name="connsiteY23" fmla="*/ 66150 h 224783"/>
                <a:gd name="connsiteX24" fmla="*/ 70229 w 198262"/>
                <a:gd name="connsiteY24" fmla="*/ 43470 h 224783"/>
                <a:gd name="connsiteX25" fmla="*/ 101540 w 198262"/>
                <a:gd name="connsiteY25" fmla="*/ 34776 h 224783"/>
                <a:gd name="connsiteX26" fmla="*/ 130443 w 198262"/>
                <a:gd name="connsiteY26" fmla="*/ 42336 h 224783"/>
                <a:gd name="connsiteX27" fmla="*/ 149584 w 198262"/>
                <a:gd name="connsiteY27" fmla="*/ 62874 h 224783"/>
                <a:gd name="connsiteX28" fmla="*/ 156430 w 198262"/>
                <a:gd name="connsiteY28" fmla="*/ 92610 h 224783"/>
                <a:gd name="connsiteX29" fmla="*/ 42974 w 198262"/>
                <a:gd name="connsiteY29" fmla="*/ 92610 h 224783"/>
                <a:gd name="connsiteX30" fmla="*/ 49693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552" y="210924"/>
                  </a:moveTo>
                  <a:cubicBezTo>
                    <a:pt x="64144" y="220122"/>
                    <a:pt x="82652" y="224784"/>
                    <a:pt x="104329" y="224784"/>
                  </a:cubicBezTo>
                  <a:cubicBezTo>
                    <a:pt x="120301" y="224784"/>
                    <a:pt x="134499" y="222390"/>
                    <a:pt x="147049" y="217476"/>
                  </a:cubicBezTo>
                  <a:cubicBezTo>
                    <a:pt x="159599" y="212562"/>
                    <a:pt x="169993" y="205758"/>
                    <a:pt x="178234" y="196938"/>
                  </a:cubicBezTo>
                  <a:cubicBezTo>
                    <a:pt x="186600" y="188118"/>
                    <a:pt x="192304" y="177786"/>
                    <a:pt x="195601" y="165942"/>
                  </a:cubicBezTo>
                  <a:lnTo>
                    <a:pt x="155289" y="158760"/>
                  </a:lnTo>
                  <a:cubicBezTo>
                    <a:pt x="152753" y="165564"/>
                    <a:pt x="148950" y="171234"/>
                    <a:pt x="144133" y="175896"/>
                  </a:cubicBezTo>
                  <a:cubicBezTo>
                    <a:pt x="139316" y="180558"/>
                    <a:pt x="133485" y="183960"/>
                    <a:pt x="126893" y="186354"/>
                  </a:cubicBezTo>
                  <a:cubicBezTo>
                    <a:pt x="120174" y="188622"/>
                    <a:pt x="112822" y="189882"/>
                    <a:pt x="104836" y="189882"/>
                  </a:cubicBezTo>
                  <a:cubicBezTo>
                    <a:pt x="92413" y="189882"/>
                    <a:pt x="81511" y="187236"/>
                    <a:pt x="72130" y="181818"/>
                  </a:cubicBezTo>
                  <a:cubicBezTo>
                    <a:pt x="62876" y="176526"/>
                    <a:pt x="55524" y="168714"/>
                    <a:pt x="50453" y="158508"/>
                  </a:cubicBezTo>
                  <a:cubicBezTo>
                    <a:pt x="45636" y="149058"/>
                    <a:pt x="43354" y="137592"/>
                    <a:pt x="42974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1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8748"/>
                    <a:pt x="33086" y="201726"/>
                    <a:pt x="48552" y="210924"/>
                  </a:cubicBezTo>
                  <a:close/>
                  <a:moveTo>
                    <a:pt x="49693" y="66150"/>
                  </a:moveTo>
                  <a:cubicBezTo>
                    <a:pt x="54510" y="56826"/>
                    <a:pt x="61355" y="49266"/>
                    <a:pt x="70229" y="43470"/>
                  </a:cubicBezTo>
                  <a:cubicBezTo>
                    <a:pt x="79102" y="37674"/>
                    <a:pt x="89497" y="34776"/>
                    <a:pt x="101540" y="34776"/>
                  </a:cubicBezTo>
                  <a:cubicBezTo>
                    <a:pt x="112568" y="34776"/>
                    <a:pt x="122203" y="37296"/>
                    <a:pt x="130443" y="42336"/>
                  </a:cubicBezTo>
                  <a:cubicBezTo>
                    <a:pt x="138682" y="47376"/>
                    <a:pt x="145021" y="54180"/>
                    <a:pt x="149584" y="62874"/>
                  </a:cubicBezTo>
                  <a:cubicBezTo>
                    <a:pt x="154148" y="71568"/>
                    <a:pt x="156430" y="81396"/>
                    <a:pt x="156430" y="92610"/>
                  </a:cubicBezTo>
                  <a:lnTo>
                    <a:pt x="42974" y="92610"/>
                  </a:lnTo>
                  <a:cubicBezTo>
                    <a:pt x="43481" y="83160"/>
                    <a:pt x="45509" y="74340"/>
                    <a:pt x="49693" y="6615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5" name="Freihandform 21">
              <a:extLst>
                <a:ext uri="{FF2B5EF4-FFF2-40B4-BE49-F238E27FC236}">
                  <a16:creationId xmlns:a16="http://schemas.microsoft.com/office/drawing/2014/main" id="{1E2BB517-8F29-4022-AE5A-40B42F664F3A}"/>
                </a:ext>
              </a:extLst>
            </p:cNvPr>
            <p:cNvSpPr/>
            <p:nvPr/>
          </p:nvSpPr>
          <p:spPr bwMode="invGray">
            <a:xfrm>
              <a:off x="1466698" y="287687"/>
              <a:ext cx="25638" cy="48322"/>
            </a:xfrm>
            <a:custGeom>
              <a:avLst/>
              <a:gdLst>
                <a:gd name="connsiteX0" fmla="*/ 42720 w 117258"/>
                <a:gd name="connsiteY0" fmla="*/ 88074 h 221003"/>
                <a:gd name="connsiteX1" fmla="*/ 49566 w 117258"/>
                <a:gd name="connsiteY1" fmla="*/ 62748 h 221003"/>
                <a:gd name="connsiteX2" fmla="*/ 68200 w 117258"/>
                <a:gd name="connsiteY2" fmla="*/ 45360 h 221003"/>
                <a:gd name="connsiteX3" fmla="*/ 95075 w 117258"/>
                <a:gd name="connsiteY3" fmla="*/ 39060 h 221003"/>
                <a:gd name="connsiteX4" fmla="*/ 108132 w 117258"/>
                <a:gd name="connsiteY4" fmla="*/ 39942 h 221003"/>
                <a:gd name="connsiteX5" fmla="*/ 117259 w 117258"/>
                <a:gd name="connsiteY5" fmla="*/ 41580 h 221003"/>
                <a:gd name="connsiteX6" fmla="*/ 117259 w 117258"/>
                <a:gd name="connsiteY6" fmla="*/ 1008 h 221003"/>
                <a:gd name="connsiteX7" fmla="*/ 108639 w 117258"/>
                <a:gd name="connsiteY7" fmla="*/ 252 h 221003"/>
                <a:gd name="connsiteX8" fmla="*/ 99131 w 117258"/>
                <a:gd name="connsiteY8" fmla="*/ 0 h 221003"/>
                <a:gd name="connsiteX9" fmla="*/ 64651 w 117258"/>
                <a:gd name="connsiteY9" fmla="*/ 10080 h 221003"/>
                <a:gd name="connsiteX10" fmla="*/ 43481 w 117258"/>
                <a:gd name="connsiteY10" fmla="*/ 37800 h 221003"/>
                <a:gd name="connsiteX11" fmla="*/ 41199 w 117258"/>
                <a:gd name="connsiteY11" fmla="*/ 37800 h 221003"/>
                <a:gd name="connsiteX12" fmla="*/ 41199 w 117258"/>
                <a:gd name="connsiteY12" fmla="*/ 3276 h 221003"/>
                <a:gd name="connsiteX13" fmla="*/ 0 w 117258"/>
                <a:gd name="connsiteY13" fmla="*/ 3276 h 221003"/>
                <a:gd name="connsiteX14" fmla="*/ 0 w 117258"/>
                <a:gd name="connsiteY14" fmla="*/ 221004 h 221003"/>
                <a:gd name="connsiteX15" fmla="*/ 42720 w 117258"/>
                <a:gd name="connsiteY15" fmla="*/ 221004 h 221003"/>
                <a:gd name="connsiteX16" fmla="*/ 42720 w 117258"/>
                <a:gd name="connsiteY16" fmla="*/ 88074 h 22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3">
                  <a:moveTo>
                    <a:pt x="42720" y="88074"/>
                  </a:move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6" name="Freihandform 22">
              <a:extLst>
                <a:ext uri="{FF2B5EF4-FFF2-40B4-BE49-F238E27FC236}">
                  <a16:creationId xmlns:a16="http://schemas.microsoft.com/office/drawing/2014/main" id="{0C728F05-57FE-4401-8837-450B15131652}"/>
                </a:ext>
              </a:extLst>
            </p:cNvPr>
            <p:cNvSpPr/>
            <p:nvPr/>
          </p:nvSpPr>
          <p:spPr bwMode="invGray">
            <a:xfrm>
              <a:off x="1500430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7" name="Freihandform 23">
              <a:extLst>
                <a:ext uri="{FF2B5EF4-FFF2-40B4-BE49-F238E27FC236}">
                  <a16:creationId xmlns:a16="http://schemas.microsoft.com/office/drawing/2014/main" id="{139BA451-36CE-4C7D-8CDD-B97DEAC6048F}"/>
                </a:ext>
              </a:extLst>
            </p:cNvPr>
            <p:cNvSpPr/>
            <p:nvPr/>
          </p:nvSpPr>
          <p:spPr bwMode="invGray">
            <a:xfrm>
              <a:off x="1499266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4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184" y="48132"/>
                    <a:pt x="19522" y="50652"/>
                    <a:pt x="26874" y="506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8" name="Freihandform 24">
              <a:extLst>
                <a:ext uri="{FF2B5EF4-FFF2-40B4-BE49-F238E27FC236}">
                  <a16:creationId xmlns:a16="http://schemas.microsoft.com/office/drawing/2014/main" id="{249EBBFB-F3E2-46CC-A091-037BADCC2169}"/>
                </a:ext>
              </a:extLst>
            </p:cNvPr>
            <p:cNvSpPr/>
            <p:nvPr/>
          </p:nvSpPr>
          <p:spPr bwMode="invGray">
            <a:xfrm>
              <a:off x="1522355" y="287769"/>
              <a:ext cx="39941" cy="48267"/>
            </a:xfrm>
            <a:custGeom>
              <a:avLst/>
              <a:gdLst>
                <a:gd name="connsiteX0" fmla="*/ 182670 w 182670"/>
                <a:gd name="connsiteY0" fmla="*/ 220752 h 220751"/>
                <a:gd name="connsiteX1" fmla="*/ 182670 w 182670"/>
                <a:gd name="connsiteY1" fmla="*/ 82152 h 220751"/>
                <a:gd name="connsiteX2" fmla="*/ 173416 w 182670"/>
                <a:gd name="connsiteY2" fmla="*/ 36918 h 220751"/>
                <a:gd name="connsiteX3" fmla="*/ 147303 w 182670"/>
                <a:gd name="connsiteY3" fmla="*/ 9324 h 220751"/>
                <a:gd name="connsiteX4" fmla="*/ 108132 w 182670"/>
                <a:gd name="connsiteY4" fmla="*/ 0 h 220751"/>
                <a:gd name="connsiteX5" fmla="*/ 67313 w 182670"/>
                <a:gd name="connsiteY5" fmla="*/ 10458 h 220751"/>
                <a:gd name="connsiteX6" fmla="*/ 43608 w 182670"/>
                <a:gd name="connsiteY6" fmla="*/ 38304 h 220751"/>
                <a:gd name="connsiteX7" fmla="*/ 40946 w 182670"/>
                <a:gd name="connsiteY7" fmla="*/ 38304 h 220751"/>
                <a:gd name="connsiteX8" fmla="*/ 40946 w 182670"/>
                <a:gd name="connsiteY8" fmla="*/ 2898 h 220751"/>
                <a:gd name="connsiteX9" fmla="*/ 0 w 182670"/>
                <a:gd name="connsiteY9" fmla="*/ 2898 h 220751"/>
                <a:gd name="connsiteX10" fmla="*/ 0 w 182670"/>
                <a:gd name="connsiteY10" fmla="*/ 220626 h 220751"/>
                <a:gd name="connsiteX11" fmla="*/ 42721 w 182670"/>
                <a:gd name="connsiteY11" fmla="*/ 220626 h 220751"/>
                <a:gd name="connsiteX12" fmla="*/ 42721 w 182670"/>
                <a:gd name="connsiteY12" fmla="*/ 91350 h 220751"/>
                <a:gd name="connsiteX13" fmla="*/ 49312 w 182670"/>
                <a:gd name="connsiteY13" fmla="*/ 61740 h 220751"/>
                <a:gd name="connsiteX14" fmla="*/ 67440 w 182670"/>
                <a:gd name="connsiteY14" fmla="*/ 43092 h 220751"/>
                <a:gd name="connsiteX15" fmla="*/ 93807 w 182670"/>
                <a:gd name="connsiteY15" fmla="*/ 36666 h 220751"/>
                <a:gd name="connsiteX16" fmla="*/ 127907 w 182670"/>
                <a:gd name="connsiteY16" fmla="*/ 50022 h 220751"/>
                <a:gd name="connsiteX17" fmla="*/ 140330 w 182670"/>
                <a:gd name="connsiteY17" fmla="*/ 87066 h 220751"/>
                <a:gd name="connsiteX18" fmla="*/ 140330 w 182670"/>
                <a:gd name="connsiteY18" fmla="*/ 220500 h 220751"/>
                <a:gd name="connsiteX19" fmla="*/ 182670 w 182670"/>
                <a:gd name="connsiteY19" fmla="*/ 220500 h 220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751">
                  <a:moveTo>
                    <a:pt x="182670" y="220752"/>
                  </a:moveTo>
                  <a:lnTo>
                    <a:pt x="182670" y="82152"/>
                  </a:lnTo>
                  <a:cubicBezTo>
                    <a:pt x="182670" y="64260"/>
                    <a:pt x="179628" y="49140"/>
                    <a:pt x="173416" y="36918"/>
                  </a:cubicBezTo>
                  <a:cubicBezTo>
                    <a:pt x="167205" y="24696"/>
                    <a:pt x="158585" y="15498"/>
                    <a:pt x="147303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2" y="26712"/>
                    <a:pt x="43608" y="38304"/>
                  </a:cubicBezTo>
                  <a:lnTo>
                    <a:pt x="40946" y="38304"/>
                  </a:lnTo>
                  <a:lnTo>
                    <a:pt x="40946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1" y="220626"/>
                  </a:lnTo>
                  <a:lnTo>
                    <a:pt x="42721" y="91350"/>
                  </a:lnTo>
                  <a:cubicBezTo>
                    <a:pt x="42721" y="79884"/>
                    <a:pt x="44875" y="69930"/>
                    <a:pt x="49312" y="61740"/>
                  </a:cubicBezTo>
                  <a:cubicBezTo>
                    <a:pt x="53749" y="53550"/>
                    <a:pt x="59707" y="47376"/>
                    <a:pt x="67440" y="43092"/>
                  </a:cubicBezTo>
                  <a:cubicBezTo>
                    <a:pt x="75173" y="38808"/>
                    <a:pt x="83920" y="36666"/>
                    <a:pt x="93807" y="36666"/>
                  </a:cubicBezTo>
                  <a:cubicBezTo>
                    <a:pt x="108258" y="36666"/>
                    <a:pt x="119667" y="41076"/>
                    <a:pt x="127907" y="50022"/>
                  </a:cubicBezTo>
                  <a:cubicBezTo>
                    <a:pt x="136147" y="58968"/>
                    <a:pt x="140330" y="71316"/>
                    <a:pt x="140330" y="87066"/>
                  </a:cubicBezTo>
                  <a:lnTo>
                    <a:pt x="140330" y="220500"/>
                  </a:lnTo>
                  <a:lnTo>
                    <a:pt x="182670" y="22050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9" name="Freihandform 25">
              <a:extLst>
                <a:ext uri="{FF2B5EF4-FFF2-40B4-BE49-F238E27FC236}">
                  <a16:creationId xmlns:a16="http://schemas.microsoft.com/office/drawing/2014/main" id="{DCDE3BF8-38D7-49D1-99BC-C197D071097F}"/>
                </a:ext>
              </a:extLst>
            </p:cNvPr>
            <p:cNvSpPr/>
            <p:nvPr/>
          </p:nvSpPr>
          <p:spPr bwMode="invGray">
            <a:xfrm>
              <a:off x="1572634" y="287797"/>
              <a:ext cx="43766" cy="66974"/>
            </a:xfrm>
            <a:custGeom>
              <a:avLst/>
              <a:gdLst>
                <a:gd name="connsiteX0" fmla="*/ 158585 w 200163"/>
                <a:gd name="connsiteY0" fmla="*/ 2772 h 306306"/>
                <a:gd name="connsiteX1" fmla="*/ 158585 w 200163"/>
                <a:gd name="connsiteY1" fmla="*/ 38052 h 306306"/>
                <a:gd name="connsiteX2" fmla="*/ 155415 w 200163"/>
                <a:gd name="connsiteY2" fmla="*/ 38052 h 306306"/>
                <a:gd name="connsiteX3" fmla="*/ 144513 w 200163"/>
                <a:gd name="connsiteY3" fmla="*/ 22302 h 306306"/>
                <a:gd name="connsiteX4" fmla="*/ 124865 w 200163"/>
                <a:gd name="connsiteY4" fmla="*/ 6678 h 306306"/>
                <a:gd name="connsiteX5" fmla="*/ 91905 w 200163"/>
                <a:gd name="connsiteY5" fmla="*/ 0 h 306306"/>
                <a:gd name="connsiteX6" fmla="*/ 44622 w 200163"/>
                <a:gd name="connsiteY6" fmla="*/ 13230 h 306306"/>
                <a:gd name="connsiteX7" fmla="*/ 11916 w 200163"/>
                <a:gd name="connsiteY7" fmla="*/ 51282 h 306306"/>
                <a:gd name="connsiteX8" fmla="*/ 0 w 200163"/>
                <a:gd name="connsiteY8" fmla="*/ 110880 h 306306"/>
                <a:gd name="connsiteX9" fmla="*/ 12043 w 200163"/>
                <a:gd name="connsiteY9" fmla="*/ 169344 h 306306"/>
                <a:gd name="connsiteX10" fmla="*/ 44875 w 200163"/>
                <a:gd name="connsiteY10" fmla="*/ 205254 h 306306"/>
                <a:gd name="connsiteX11" fmla="*/ 91525 w 200163"/>
                <a:gd name="connsiteY11" fmla="*/ 217350 h 306306"/>
                <a:gd name="connsiteX12" fmla="*/ 124231 w 200163"/>
                <a:gd name="connsiteY12" fmla="*/ 211050 h 306306"/>
                <a:gd name="connsiteX13" fmla="*/ 144006 w 200163"/>
                <a:gd name="connsiteY13" fmla="*/ 196308 h 306306"/>
                <a:gd name="connsiteX14" fmla="*/ 155035 w 200163"/>
                <a:gd name="connsiteY14" fmla="*/ 180810 h 306306"/>
                <a:gd name="connsiteX15" fmla="*/ 157697 w 200163"/>
                <a:gd name="connsiteY15" fmla="*/ 180810 h 306306"/>
                <a:gd name="connsiteX16" fmla="*/ 157697 w 200163"/>
                <a:gd name="connsiteY16" fmla="*/ 223650 h 306306"/>
                <a:gd name="connsiteX17" fmla="*/ 141851 w 200163"/>
                <a:gd name="connsiteY17" fmla="*/ 260568 h 306306"/>
                <a:gd name="connsiteX18" fmla="*/ 101793 w 200163"/>
                <a:gd name="connsiteY18" fmla="*/ 272160 h 306306"/>
                <a:gd name="connsiteX19" fmla="*/ 72891 w 200163"/>
                <a:gd name="connsiteY19" fmla="*/ 267246 h 306306"/>
                <a:gd name="connsiteX20" fmla="*/ 55270 w 200163"/>
                <a:gd name="connsiteY20" fmla="*/ 255276 h 306306"/>
                <a:gd name="connsiteX21" fmla="*/ 44875 w 200163"/>
                <a:gd name="connsiteY21" fmla="*/ 242424 h 306306"/>
                <a:gd name="connsiteX22" fmla="*/ 8240 w 200163"/>
                <a:gd name="connsiteY22" fmla="*/ 257418 h 306306"/>
                <a:gd name="connsiteX23" fmla="*/ 25860 w 200163"/>
                <a:gd name="connsiteY23" fmla="*/ 281610 h 306306"/>
                <a:gd name="connsiteX24" fmla="*/ 56411 w 200163"/>
                <a:gd name="connsiteY24" fmla="*/ 299502 h 306306"/>
                <a:gd name="connsiteX25" fmla="*/ 101286 w 200163"/>
                <a:gd name="connsiteY25" fmla="*/ 306306 h 306306"/>
                <a:gd name="connsiteX26" fmla="*/ 151486 w 200163"/>
                <a:gd name="connsiteY26" fmla="*/ 297612 h 306306"/>
                <a:gd name="connsiteX27" fmla="*/ 186980 w 200163"/>
                <a:gd name="connsiteY27" fmla="*/ 271026 h 306306"/>
                <a:gd name="connsiteX28" fmla="*/ 200164 w 200163"/>
                <a:gd name="connsiteY28" fmla="*/ 225288 h 306306"/>
                <a:gd name="connsiteX29" fmla="*/ 200164 w 200163"/>
                <a:gd name="connsiteY29" fmla="*/ 2772 h 306306"/>
                <a:gd name="connsiteX30" fmla="*/ 158585 w 200163"/>
                <a:gd name="connsiteY30" fmla="*/ 2772 h 306306"/>
                <a:gd name="connsiteX31" fmla="*/ 151739 w 200163"/>
                <a:gd name="connsiteY31" fmla="*/ 148932 h 306306"/>
                <a:gd name="connsiteX32" fmla="*/ 132344 w 200163"/>
                <a:gd name="connsiteY32" fmla="*/ 173628 h 306306"/>
                <a:gd name="connsiteX33" fmla="*/ 101160 w 200163"/>
                <a:gd name="connsiteY33" fmla="*/ 182196 h 306306"/>
                <a:gd name="connsiteX34" fmla="*/ 69341 w 200163"/>
                <a:gd name="connsiteY34" fmla="*/ 173124 h 306306"/>
                <a:gd name="connsiteX35" fmla="*/ 49946 w 200163"/>
                <a:gd name="connsiteY35" fmla="*/ 147924 h 306306"/>
                <a:gd name="connsiteX36" fmla="*/ 43354 w 200163"/>
                <a:gd name="connsiteY36" fmla="*/ 110376 h 306306"/>
                <a:gd name="connsiteX37" fmla="*/ 49819 w 200163"/>
                <a:gd name="connsiteY37" fmla="*/ 72702 h 306306"/>
                <a:gd name="connsiteX38" fmla="*/ 69088 w 200163"/>
                <a:gd name="connsiteY38" fmla="*/ 45990 h 306306"/>
                <a:gd name="connsiteX39" fmla="*/ 101160 w 200163"/>
                <a:gd name="connsiteY39" fmla="*/ 36162 h 306306"/>
                <a:gd name="connsiteX40" fmla="*/ 132597 w 200163"/>
                <a:gd name="connsiteY40" fmla="*/ 45612 h 306306"/>
                <a:gd name="connsiteX41" fmla="*/ 151866 w 200163"/>
                <a:gd name="connsiteY41" fmla="*/ 71820 h 306306"/>
                <a:gd name="connsiteX42" fmla="*/ 158458 w 200163"/>
                <a:gd name="connsiteY42" fmla="*/ 110502 h 306306"/>
                <a:gd name="connsiteX43" fmla="*/ 151739 w 200163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163" h="306306">
                  <a:moveTo>
                    <a:pt x="158585" y="2772"/>
                  </a:move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6" y="196308"/>
                  </a:cubicBezTo>
                  <a:cubicBezTo>
                    <a:pt x="148823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2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19921" y="306306"/>
                    <a:pt x="136654" y="303408"/>
                    <a:pt x="151486" y="297612"/>
                  </a:cubicBezTo>
                  <a:cubicBezTo>
                    <a:pt x="166317" y="291816"/>
                    <a:pt x="178233" y="282996"/>
                    <a:pt x="186980" y="271026"/>
                  </a:cubicBezTo>
                  <a:cubicBezTo>
                    <a:pt x="195727" y="259056"/>
                    <a:pt x="200164" y="243810"/>
                    <a:pt x="200164" y="225288"/>
                  </a:cubicBezTo>
                  <a:lnTo>
                    <a:pt x="200164" y="2772"/>
                  </a:lnTo>
                  <a:lnTo>
                    <a:pt x="158585" y="2772"/>
                  </a:lnTo>
                  <a:close/>
                  <a:moveTo>
                    <a:pt x="151739" y="148932"/>
                  </a:moveTo>
                  <a:cubicBezTo>
                    <a:pt x="147302" y="159642"/>
                    <a:pt x="140837" y="167832"/>
                    <a:pt x="132344" y="173628"/>
                  </a:cubicBezTo>
                  <a:cubicBezTo>
                    <a:pt x="123850" y="179298"/>
                    <a:pt x="113456" y="182196"/>
                    <a:pt x="101160" y="182196"/>
                  </a:cubicBezTo>
                  <a:cubicBezTo>
                    <a:pt x="88483" y="182196"/>
                    <a:pt x="77834" y="179172"/>
                    <a:pt x="69341" y="173124"/>
                  </a:cubicBezTo>
                  <a:cubicBezTo>
                    <a:pt x="60848" y="167076"/>
                    <a:pt x="54256" y="158634"/>
                    <a:pt x="49946" y="147924"/>
                  </a:cubicBezTo>
                  <a:cubicBezTo>
                    <a:pt x="45509" y="137088"/>
                    <a:pt x="43354" y="124614"/>
                    <a:pt x="43354" y="110376"/>
                  </a:cubicBezTo>
                  <a:cubicBezTo>
                    <a:pt x="43354" y="96516"/>
                    <a:pt x="45509" y="83916"/>
                    <a:pt x="49819" y="72702"/>
                  </a:cubicBezTo>
                  <a:cubicBezTo>
                    <a:pt x="54129" y="61488"/>
                    <a:pt x="60594" y="52542"/>
                    <a:pt x="69088" y="45990"/>
                  </a:cubicBezTo>
                  <a:cubicBezTo>
                    <a:pt x="77581" y="39438"/>
                    <a:pt x="88356" y="36162"/>
                    <a:pt x="101160" y="36162"/>
                  </a:cubicBezTo>
                  <a:cubicBezTo>
                    <a:pt x="113582" y="36162"/>
                    <a:pt x="124104" y="39312"/>
                    <a:pt x="132597" y="45612"/>
                  </a:cubicBezTo>
                  <a:cubicBezTo>
                    <a:pt x="141091" y="51912"/>
                    <a:pt x="147429" y="60606"/>
                    <a:pt x="151866" y="71820"/>
                  </a:cubicBezTo>
                  <a:cubicBezTo>
                    <a:pt x="156176" y="83034"/>
                    <a:pt x="158458" y="95886"/>
                    <a:pt x="158458" y="110502"/>
                  </a:cubicBezTo>
                  <a:cubicBezTo>
                    <a:pt x="158331" y="125370"/>
                    <a:pt x="156176" y="138222"/>
                    <a:pt x="151739" y="14893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0" name="Freihandform 26">
              <a:extLst>
                <a:ext uri="{FF2B5EF4-FFF2-40B4-BE49-F238E27FC236}">
                  <a16:creationId xmlns:a16="http://schemas.microsoft.com/office/drawing/2014/main" id="{D35E5E15-C461-4439-AC18-BA347E8E9B02}"/>
                </a:ext>
              </a:extLst>
            </p:cNvPr>
            <p:cNvSpPr/>
            <p:nvPr/>
          </p:nvSpPr>
          <p:spPr bwMode="invGray">
            <a:xfrm>
              <a:off x="1125303" y="358490"/>
              <a:ext cx="29408" cy="66478"/>
            </a:xfrm>
            <a:custGeom>
              <a:avLst/>
              <a:gdLst>
                <a:gd name="connsiteX0" fmla="*/ 33974 w 134499"/>
                <a:gd name="connsiteY0" fmla="*/ 304038 h 304038"/>
                <a:gd name="connsiteX1" fmla="*/ 76567 w 134499"/>
                <a:gd name="connsiteY1" fmla="*/ 304038 h 304038"/>
                <a:gd name="connsiteX2" fmla="*/ 76567 w 134499"/>
                <a:gd name="connsiteY2" fmla="*/ 120204 h 304038"/>
                <a:gd name="connsiteX3" fmla="*/ 123851 w 134499"/>
                <a:gd name="connsiteY3" fmla="*/ 120204 h 304038"/>
                <a:gd name="connsiteX4" fmla="*/ 123851 w 134499"/>
                <a:gd name="connsiteY4" fmla="*/ 86184 h 304038"/>
                <a:gd name="connsiteX5" fmla="*/ 76567 w 134499"/>
                <a:gd name="connsiteY5" fmla="*/ 86184 h 304038"/>
                <a:gd name="connsiteX6" fmla="*/ 76567 w 134499"/>
                <a:gd name="connsiteY6" fmla="*/ 66654 h 304038"/>
                <a:gd name="connsiteX7" fmla="*/ 83159 w 134499"/>
                <a:gd name="connsiteY7" fmla="*/ 44478 h 304038"/>
                <a:gd name="connsiteX8" fmla="*/ 105343 w 134499"/>
                <a:gd name="connsiteY8" fmla="*/ 36792 h 304038"/>
                <a:gd name="connsiteX9" fmla="*/ 116752 w 134499"/>
                <a:gd name="connsiteY9" fmla="*/ 38052 h 304038"/>
                <a:gd name="connsiteX10" fmla="*/ 124484 w 134499"/>
                <a:gd name="connsiteY10" fmla="*/ 40068 h 304038"/>
                <a:gd name="connsiteX11" fmla="*/ 134499 w 134499"/>
                <a:gd name="connsiteY11" fmla="*/ 5796 h 304038"/>
                <a:gd name="connsiteX12" fmla="*/ 120935 w 134499"/>
                <a:gd name="connsiteY12" fmla="*/ 2016 h 304038"/>
                <a:gd name="connsiteX13" fmla="*/ 99005 w 134499"/>
                <a:gd name="connsiteY13" fmla="*/ 0 h 304038"/>
                <a:gd name="connsiteX14" fmla="*/ 66806 w 134499"/>
                <a:gd name="connsiteY14" fmla="*/ 6804 h 304038"/>
                <a:gd name="connsiteX15" fmla="*/ 42974 w 134499"/>
                <a:gd name="connsiteY15" fmla="*/ 27090 h 304038"/>
                <a:gd name="connsiteX16" fmla="*/ 33974 w 134499"/>
                <a:gd name="connsiteY16" fmla="*/ 60984 h 304038"/>
                <a:gd name="connsiteX17" fmla="*/ 33974 w 134499"/>
                <a:gd name="connsiteY17" fmla="*/ 86184 h 304038"/>
                <a:gd name="connsiteX18" fmla="*/ 0 w 134499"/>
                <a:gd name="connsiteY18" fmla="*/ 86184 h 304038"/>
                <a:gd name="connsiteX19" fmla="*/ 0 w 134499"/>
                <a:gd name="connsiteY19" fmla="*/ 120204 h 304038"/>
                <a:gd name="connsiteX20" fmla="*/ 33974 w 134499"/>
                <a:gd name="connsiteY20" fmla="*/ 120204 h 304038"/>
                <a:gd name="connsiteX21" fmla="*/ 33974 w 134499"/>
                <a:gd name="connsiteY21" fmla="*/ 304038 h 304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4499" h="304038">
                  <a:moveTo>
                    <a:pt x="33974" y="304038"/>
                  </a:moveTo>
                  <a:lnTo>
                    <a:pt x="76567" y="304038"/>
                  </a:lnTo>
                  <a:lnTo>
                    <a:pt x="76567" y="120204"/>
                  </a:lnTo>
                  <a:lnTo>
                    <a:pt x="123851" y="120204"/>
                  </a:lnTo>
                  <a:lnTo>
                    <a:pt x="123851" y="86184"/>
                  </a:lnTo>
                  <a:lnTo>
                    <a:pt x="76567" y="86184"/>
                  </a:lnTo>
                  <a:lnTo>
                    <a:pt x="76567" y="66654"/>
                  </a:lnTo>
                  <a:cubicBezTo>
                    <a:pt x="76567" y="56952"/>
                    <a:pt x="78849" y="49644"/>
                    <a:pt x="83159" y="44478"/>
                  </a:cubicBezTo>
                  <a:cubicBezTo>
                    <a:pt x="87595" y="39438"/>
                    <a:pt x="94948" y="36792"/>
                    <a:pt x="105343" y="36792"/>
                  </a:cubicBezTo>
                  <a:cubicBezTo>
                    <a:pt x="109780" y="36792"/>
                    <a:pt x="113583" y="37170"/>
                    <a:pt x="116752" y="38052"/>
                  </a:cubicBezTo>
                  <a:cubicBezTo>
                    <a:pt x="119921" y="38808"/>
                    <a:pt x="122456" y="39564"/>
                    <a:pt x="124484" y="40068"/>
                  </a:cubicBezTo>
                  <a:lnTo>
                    <a:pt x="134499" y="5796"/>
                  </a:lnTo>
                  <a:cubicBezTo>
                    <a:pt x="131583" y="4662"/>
                    <a:pt x="127020" y="3402"/>
                    <a:pt x="120935" y="2016"/>
                  </a:cubicBezTo>
                  <a:cubicBezTo>
                    <a:pt x="114851" y="630"/>
                    <a:pt x="107498" y="0"/>
                    <a:pt x="99005" y="0"/>
                  </a:cubicBezTo>
                  <a:cubicBezTo>
                    <a:pt x="87469" y="0"/>
                    <a:pt x="76694" y="2268"/>
                    <a:pt x="66806" y="6804"/>
                  </a:cubicBezTo>
                  <a:cubicBezTo>
                    <a:pt x="56918" y="11340"/>
                    <a:pt x="48932" y="18018"/>
                    <a:pt x="42974" y="27090"/>
                  </a:cubicBezTo>
                  <a:cubicBezTo>
                    <a:pt x="37016" y="36162"/>
                    <a:pt x="33974" y="47376"/>
                    <a:pt x="33974" y="60984"/>
                  </a:cubicBezTo>
                  <a:lnTo>
                    <a:pt x="33974" y="86184"/>
                  </a:lnTo>
                  <a:lnTo>
                    <a:pt x="0" y="86184"/>
                  </a:lnTo>
                  <a:lnTo>
                    <a:pt x="0" y="120204"/>
                  </a:lnTo>
                  <a:lnTo>
                    <a:pt x="33974" y="120204"/>
                  </a:lnTo>
                  <a:lnTo>
                    <a:pt x="33974" y="30403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1" name="Freihandform 27">
              <a:extLst>
                <a:ext uri="{FF2B5EF4-FFF2-40B4-BE49-F238E27FC236}">
                  <a16:creationId xmlns:a16="http://schemas.microsoft.com/office/drawing/2014/main" id="{6C5BF7EA-6C05-489E-9BEF-0CFEC8C016FB}"/>
                </a:ext>
              </a:extLst>
            </p:cNvPr>
            <p:cNvSpPr/>
            <p:nvPr/>
          </p:nvSpPr>
          <p:spPr bwMode="invGray">
            <a:xfrm>
              <a:off x="1159174" y="376728"/>
              <a:ext cx="44625" cy="49176"/>
            </a:xfrm>
            <a:custGeom>
              <a:avLst/>
              <a:gdLst>
                <a:gd name="connsiteX0" fmla="*/ 204094 w 204093"/>
                <a:gd name="connsiteY0" fmla="*/ 112644 h 224909"/>
                <a:gd name="connsiteX1" fmla="*/ 191417 w 204093"/>
                <a:gd name="connsiteY1" fmla="*/ 53424 h 224909"/>
                <a:gd name="connsiteX2" fmla="*/ 155796 w 204093"/>
                <a:gd name="connsiteY2" fmla="*/ 13986 h 224909"/>
                <a:gd name="connsiteX3" fmla="*/ 102047 w 204093"/>
                <a:gd name="connsiteY3" fmla="*/ 0 h 224909"/>
                <a:gd name="connsiteX4" fmla="*/ 48298 w 204093"/>
                <a:gd name="connsiteY4" fmla="*/ 13986 h 224909"/>
                <a:gd name="connsiteX5" fmla="*/ 12677 w 204093"/>
                <a:gd name="connsiteY5" fmla="*/ 53424 h 224909"/>
                <a:gd name="connsiteX6" fmla="*/ 0 w 204093"/>
                <a:gd name="connsiteY6" fmla="*/ 112644 h 224909"/>
                <a:gd name="connsiteX7" fmla="*/ 12677 w 204093"/>
                <a:gd name="connsiteY7" fmla="*/ 171612 h 224909"/>
                <a:gd name="connsiteX8" fmla="*/ 48298 w 204093"/>
                <a:gd name="connsiteY8" fmla="*/ 210924 h 224909"/>
                <a:gd name="connsiteX9" fmla="*/ 102047 w 204093"/>
                <a:gd name="connsiteY9" fmla="*/ 224910 h 224909"/>
                <a:gd name="connsiteX10" fmla="*/ 155796 w 204093"/>
                <a:gd name="connsiteY10" fmla="*/ 210924 h 224909"/>
                <a:gd name="connsiteX11" fmla="*/ 191417 w 204093"/>
                <a:gd name="connsiteY11" fmla="*/ 171612 h 224909"/>
                <a:gd name="connsiteX12" fmla="*/ 204094 w 204093"/>
                <a:gd name="connsiteY12" fmla="*/ 112644 h 224909"/>
                <a:gd name="connsiteX13" fmla="*/ 154655 w 204093"/>
                <a:gd name="connsiteY13" fmla="*/ 150948 h 224909"/>
                <a:gd name="connsiteX14" fmla="*/ 135133 w 204093"/>
                <a:gd name="connsiteY14" fmla="*/ 178920 h 224909"/>
                <a:gd name="connsiteX15" fmla="*/ 102047 w 204093"/>
                <a:gd name="connsiteY15" fmla="*/ 189378 h 224909"/>
                <a:gd name="connsiteX16" fmla="*/ 68707 w 204093"/>
                <a:gd name="connsiteY16" fmla="*/ 178920 h 224909"/>
                <a:gd name="connsiteX17" fmla="*/ 49185 w 204093"/>
                <a:gd name="connsiteY17" fmla="*/ 150948 h 224909"/>
                <a:gd name="connsiteX18" fmla="*/ 42847 w 204093"/>
                <a:gd name="connsiteY18" fmla="*/ 112518 h 224909"/>
                <a:gd name="connsiteX19" fmla="*/ 49185 w 204093"/>
                <a:gd name="connsiteY19" fmla="*/ 74214 h 224909"/>
                <a:gd name="connsiteX20" fmla="*/ 68707 w 204093"/>
                <a:gd name="connsiteY20" fmla="*/ 46116 h 224909"/>
                <a:gd name="connsiteX21" fmla="*/ 102047 w 204093"/>
                <a:gd name="connsiteY21" fmla="*/ 35532 h 224909"/>
                <a:gd name="connsiteX22" fmla="*/ 135133 w 204093"/>
                <a:gd name="connsiteY22" fmla="*/ 46116 h 224909"/>
                <a:gd name="connsiteX23" fmla="*/ 154655 w 204093"/>
                <a:gd name="connsiteY23" fmla="*/ 74214 h 224909"/>
                <a:gd name="connsiteX24" fmla="*/ 160993 w 204093"/>
                <a:gd name="connsiteY24" fmla="*/ 112518 h 224909"/>
                <a:gd name="connsiteX25" fmla="*/ 154655 w 204093"/>
                <a:gd name="connsiteY25" fmla="*/ 150948 h 22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09">
                  <a:moveTo>
                    <a:pt x="204094" y="112644"/>
                  </a:moveTo>
                  <a:cubicBezTo>
                    <a:pt x="204094" y="90090"/>
                    <a:pt x="199911" y="70308"/>
                    <a:pt x="191417" y="53424"/>
                  </a:cubicBezTo>
                  <a:cubicBezTo>
                    <a:pt x="182924" y="36540"/>
                    <a:pt x="171008" y="23436"/>
                    <a:pt x="155796" y="13986"/>
                  </a:cubicBez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7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4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7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1" y="154854"/>
                    <a:pt x="204094" y="135198"/>
                    <a:pt x="204094" y="112644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10" y="189378"/>
                    <a:pt x="77581" y="185850"/>
                    <a:pt x="68707" y="178920"/>
                  </a:cubicBezTo>
                  <a:cubicBezTo>
                    <a:pt x="59961" y="171990"/>
                    <a:pt x="53369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9" y="62496"/>
                    <a:pt x="59961" y="53172"/>
                    <a:pt x="68707" y="46116"/>
                  </a:cubicBezTo>
                  <a:cubicBezTo>
                    <a:pt x="77454" y="39060"/>
                    <a:pt x="88610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2" name="Freihandform 28">
              <a:extLst>
                <a:ext uri="{FF2B5EF4-FFF2-40B4-BE49-F238E27FC236}">
                  <a16:creationId xmlns:a16="http://schemas.microsoft.com/office/drawing/2014/main" id="{6EFBF79A-4A51-48BF-89A7-AA431ACDE9A8}"/>
                </a:ext>
              </a:extLst>
            </p:cNvPr>
            <p:cNvSpPr/>
            <p:nvPr/>
          </p:nvSpPr>
          <p:spPr bwMode="invGray">
            <a:xfrm>
              <a:off x="1213472" y="376618"/>
              <a:ext cx="25638" cy="48323"/>
            </a:xfrm>
            <a:custGeom>
              <a:avLst/>
              <a:gdLst>
                <a:gd name="connsiteX0" fmla="*/ 41199 w 117258"/>
                <a:gd name="connsiteY0" fmla="*/ 3276 h 221004"/>
                <a:gd name="connsiteX1" fmla="*/ 0 w 117258"/>
                <a:gd name="connsiteY1" fmla="*/ 3276 h 221004"/>
                <a:gd name="connsiteX2" fmla="*/ 0 w 117258"/>
                <a:gd name="connsiteY2" fmla="*/ 221004 h 221004"/>
                <a:gd name="connsiteX3" fmla="*/ 42720 w 117258"/>
                <a:gd name="connsiteY3" fmla="*/ 221004 h 221004"/>
                <a:gd name="connsiteX4" fmla="*/ 42720 w 117258"/>
                <a:gd name="connsiteY4" fmla="*/ 88074 h 221004"/>
                <a:gd name="connsiteX5" fmla="*/ 49565 w 117258"/>
                <a:gd name="connsiteY5" fmla="*/ 62748 h 221004"/>
                <a:gd name="connsiteX6" fmla="*/ 68200 w 117258"/>
                <a:gd name="connsiteY6" fmla="*/ 45360 h 221004"/>
                <a:gd name="connsiteX7" fmla="*/ 95075 w 117258"/>
                <a:gd name="connsiteY7" fmla="*/ 39060 h 221004"/>
                <a:gd name="connsiteX8" fmla="*/ 108132 w 117258"/>
                <a:gd name="connsiteY8" fmla="*/ 39942 h 221004"/>
                <a:gd name="connsiteX9" fmla="*/ 117259 w 117258"/>
                <a:gd name="connsiteY9" fmla="*/ 41580 h 221004"/>
                <a:gd name="connsiteX10" fmla="*/ 117259 w 117258"/>
                <a:gd name="connsiteY10" fmla="*/ 1008 h 221004"/>
                <a:gd name="connsiteX11" fmla="*/ 108638 w 117258"/>
                <a:gd name="connsiteY11" fmla="*/ 252 h 221004"/>
                <a:gd name="connsiteX12" fmla="*/ 99131 w 117258"/>
                <a:gd name="connsiteY12" fmla="*/ 0 h 221004"/>
                <a:gd name="connsiteX13" fmla="*/ 64650 w 117258"/>
                <a:gd name="connsiteY13" fmla="*/ 10080 h 221004"/>
                <a:gd name="connsiteX14" fmla="*/ 43481 w 117258"/>
                <a:gd name="connsiteY14" fmla="*/ 37800 h 221004"/>
                <a:gd name="connsiteX15" fmla="*/ 41199 w 117258"/>
                <a:gd name="connsiteY15" fmla="*/ 37800 h 221004"/>
                <a:gd name="connsiteX16" fmla="*/ 41199 w 117258"/>
                <a:gd name="connsiteY16" fmla="*/ 3276 h 221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4">
                  <a:moveTo>
                    <a:pt x="41199" y="3276"/>
                  </a:move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5" y="62748"/>
                  </a:cubicBezTo>
                  <a:cubicBezTo>
                    <a:pt x="54129" y="55314"/>
                    <a:pt x="60340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1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8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0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3" name="Freihandform 29">
              <a:extLst>
                <a:ext uri="{FF2B5EF4-FFF2-40B4-BE49-F238E27FC236}">
                  <a16:creationId xmlns:a16="http://schemas.microsoft.com/office/drawing/2014/main" id="{87888852-2BFD-4EEE-8AB2-7E8FD59E1AB6}"/>
                </a:ext>
              </a:extLst>
            </p:cNvPr>
            <p:cNvSpPr/>
            <p:nvPr/>
          </p:nvSpPr>
          <p:spPr bwMode="invGray">
            <a:xfrm>
              <a:off x="1266856" y="376728"/>
              <a:ext cx="39857" cy="49314"/>
            </a:xfrm>
            <a:custGeom>
              <a:avLst/>
              <a:gdLst>
                <a:gd name="connsiteX0" fmla="*/ 152627 w 182289"/>
                <a:gd name="connsiteY0" fmla="*/ 14112 h 225539"/>
                <a:gd name="connsiteX1" fmla="*/ 124992 w 182289"/>
                <a:gd name="connsiteY1" fmla="*/ 3024 h 225539"/>
                <a:gd name="connsiteX2" fmla="*/ 97103 w 182289"/>
                <a:gd name="connsiteY2" fmla="*/ 0 h 225539"/>
                <a:gd name="connsiteX3" fmla="*/ 59326 w 182289"/>
                <a:gd name="connsiteY3" fmla="*/ 5544 h 225539"/>
                <a:gd name="connsiteX4" fmla="*/ 27635 w 182289"/>
                <a:gd name="connsiteY4" fmla="*/ 23436 h 225539"/>
                <a:gd name="connsiteX5" fmla="*/ 6719 w 182289"/>
                <a:gd name="connsiteY5" fmla="*/ 55566 h 225539"/>
                <a:gd name="connsiteX6" fmla="*/ 46777 w 182289"/>
                <a:gd name="connsiteY6" fmla="*/ 64638 h 225539"/>
                <a:gd name="connsiteX7" fmla="*/ 63890 w 182289"/>
                <a:gd name="connsiteY7" fmla="*/ 43722 h 225539"/>
                <a:gd name="connsiteX8" fmla="*/ 97737 w 182289"/>
                <a:gd name="connsiteY8" fmla="*/ 34272 h 225539"/>
                <a:gd name="connsiteX9" fmla="*/ 128921 w 182289"/>
                <a:gd name="connsiteY9" fmla="*/ 44478 h 225539"/>
                <a:gd name="connsiteX10" fmla="*/ 139443 w 182289"/>
                <a:gd name="connsiteY10" fmla="*/ 73332 h 225539"/>
                <a:gd name="connsiteX11" fmla="*/ 139443 w 182289"/>
                <a:gd name="connsiteY11" fmla="*/ 74340 h 225539"/>
                <a:gd name="connsiteX12" fmla="*/ 133865 w 182289"/>
                <a:gd name="connsiteY12" fmla="*/ 85428 h 225539"/>
                <a:gd name="connsiteX13" fmla="*/ 115991 w 182289"/>
                <a:gd name="connsiteY13" fmla="*/ 90342 h 225539"/>
                <a:gd name="connsiteX14" fmla="*/ 84046 w 182289"/>
                <a:gd name="connsiteY14" fmla="*/ 94122 h 225539"/>
                <a:gd name="connsiteX15" fmla="*/ 53495 w 182289"/>
                <a:gd name="connsiteY15" fmla="*/ 99540 h 225539"/>
                <a:gd name="connsiteX16" fmla="*/ 26368 w 182289"/>
                <a:gd name="connsiteY16" fmla="*/ 109998 h 225539"/>
                <a:gd name="connsiteX17" fmla="*/ 7099 w 182289"/>
                <a:gd name="connsiteY17" fmla="*/ 128898 h 225539"/>
                <a:gd name="connsiteX18" fmla="*/ 0 w 182289"/>
                <a:gd name="connsiteY18" fmla="*/ 159264 h 225539"/>
                <a:gd name="connsiteX19" fmla="*/ 9761 w 182289"/>
                <a:gd name="connsiteY19" fmla="*/ 195426 h 225539"/>
                <a:gd name="connsiteX20" fmla="*/ 36382 w 182289"/>
                <a:gd name="connsiteY20" fmla="*/ 217854 h 225539"/>
                <a:gd name="connsiteX21" fmla="*/ 74031 w 182289"/>
                <a:gd name="connsiteY21" fmla="*/ 225540 h 225539"/>
                <a:gd name="connsiteX22" fmla="*/ 105089 w 182289"/>
                <a:gd name="connsiteY22" fmla="*/ 220248 h 225539"/>
                <a:gd name="connsiteX23" fmla="*/ 126386 w 182289"/>
                <a:gd name="connsiteY23" fmla="*/ 207018 h 225539"/>
                <a:gd name="connsiteX24" fmla="*/ 138809 w 182289"/>
                <a:gd name="connsiteY24" fmla="*/ 190890 h 225539"/>
                <a:gd name="connsiteX25" fmla="*/ 140584 w 182289"/>
                <a:gd name="connsiteY25" fmla="*/ 190890 h 225539"/>
                <a:gd name="connsiteX26" fmla="*/ 140584 w 182289"/>
                <a:gd name="connsiteY26" fmla="*/ 220626 h 225539"/>
                <a:gd name="connsiteX27" fmla="*/ 182290 w 182289"/>
                <a:gd name="connsiteY27" fmla="*/ 220626 h 225539"/>
                <a:gd name="connsiteX28" fmla="*/ 182290 w 182289"/>
                <a:gd name="connsiteY28" fmla="*/ 75978 h 225539"/>
                <a:gd name="connsiteX29" fmla="*/ 173923 w 182289"/>
                <a:gd name="connsiteY29" fmla="*/ 37170 h 225539"/>
                <a:gd name="connsiteX30" fmla="*/ 152627 w 182289"/>
                <a:gd name="connsiteY30" fmla="*/ 14112 h 225539"/>
                <a:gd name="connsiteX31" fmla="*/ 139443 w 182289"/>
                <a:gd name="connsiteY31" fmla="*/ 142002 h 225539"/>
                <a:gd name="connsiteX32" fmla="*/ 132851 w 182289"/>
                <a:gd name="connsiteY32" fmla="*/ 166194 h 225539"/>
                <a:gd name="connsiteX33" fmla="*/ 113582 w 182289"/>
                <a:gd name="connsiteY33" fmla="*/ 184464 h 225539"/>
                <a:gd name="connsiteX34" fmla="*/ 83285 w 182289"/>
                <a:gd name="connsiteY34" fmla="*/ 191394 h 225539"/>
                <a:gd name="connsiteX35" fmla="*/ 53495 w 182289"/>
                <a:gd name="connsiteY35" fmla="*/ 183330 h 225539"/>
                <a:gd name="connsiteX36" fmla="*/ 41833 w 182289"/>
                <a:gd name="connsiteY36" fmla="*/ 159642 h 225539"/>
                <a:gd name="connsiteX37" fmla="*/ 47918 w 182289"/>
                <a:gd name="connsiteY37" fmla="*/ 141372 h 225539"/>
                <a:gd name="connsiteX38" fmla="*/ 64144 w 182289"/>
                <a:gd name="connsiteY38" fmla="*/ 130788 h 225539"/>
                <a:gd name="connsiteX39" fmla="*/ 86708 w 182289"/>
                <a:gd name="connsiteY39" fmla="*/ 125496 h 225539"/>
                <a:gd name="connsiteX40" fmla="*/ 99892 w 182289"/>
                <a:gd name="connsiteY40" fmla="*/ 123732 h 225539"/>
                <a:gd name="connsiteX41" fmla="*/ 115991 w 182289"/>
                <a:gd name="connsiteY41" fmla="*/ 121338 h 225539"/>
                <a:gd name="connsiteX42" fmla="*/ 130823 w 182289"/>
                <a:gd name="connsiteY42" fmla="*/ 118062 h 225539"/>
                <a:gd name="connsiteX43" fmla="*/ 139570 w 182289"/>
                <a:gd name="connsiteY43" fmla="*/ 113904 h 225539"/>
                <a:gd name="connsiteX44" fmla="*/ 139570 w 182289"/>
                <a:gd name="connsiteY44" fmla="*/ 142002 h 225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82289" h="225539">
                  <a:moveTo>
                    <a:pt x="152627" y="14112"/>
                  </a:moveTo>
                  <a:cubicBezTo>
                    <a:pt x="144007" y="8694"/>
                    <a:pt x="134753" y="5040"/>
                    <a:pt x="124992" y="3024"/>
                  </a:cubicBezTo>
                  <a:cubicBezTo>
                    <a:pt x="115104" y="1008"/>
                    <a:pt x="105850" y="0"/>
                    <a:pt x="97103" y="0"/>
                  </a:cubicBezTo>
                  <a:cubicBezTo>
                    <a:pt x="83919" y="0"/>
                    <a:pt x="71243" y="1890"/>
                    <a:pt x="59326" y="5544"/>
                  </a:cubicBezTo>
                  <a:cubicBezTo>
                    <a:pt x="47411" y="9324"/>
                    <a:pt x="36762" y="15246"/>
                    <a:pt x="27635" y="23436"/>
                  </a:cubicBezTo>
                  <a:cubicBezTo>
                    <a:pt x="18508" y="31626"/>
                    <a:pt x="11536" y="42336"/>
                    <a:pt x="6719" y="55566"/>
                  </a:cubicBezTo>
                  <a:lnTo>
                    <a:pt x="46777" y="64638"/>
                  </a:lnTo>
                  <a:cubicBezTo>
                    <a:pt x="49946" y="56952"/>
                    <a:pt x="55651" y="50022"/>
                    <a:pt x="63890" y="43722"/>
                  </a:cubicBezTo>
                  <a:cubicBezTo>
                    <a:pt x="72130" y="37422"/>
                    <a:pt x="83412" y="34272"/>
                    <a:pt x="97737" y="34272"/>
                  </a:cubicBezTo>
                  <a:cubicBezTo>
                    <a:pt x="111554" y="34272"/>
                    <a:pt x="121949" y="37674"/>
                    <a:pt x="128921" y="44478"/>
                  </a:cubicBezTo>
                  <a:cubicBezTo>
                    <a:pt x="135893" y="51282"/>
                    <a:pt x="139443" y="60858"/>
                    <a:pt x="139443" y="73332"/>
                  </a:cubicBezTo>
                  <a:lnTo>
                    <a:pt x="139443" y="74340"/>
                  </a:lnTo>
                  <a:cubicBezTo>
                    <a:pt x="139443" y="79380"/>
                    <a:pt x="137668" y="83160"/>
                    <a:pt x="133865" y="85428"/>
                  </a:cubicBezTo>
                  <a:cubicBezTo>
                    <a:pt x="130189" y="87696"/>
                    <a:pt x="124231" y="89334"/>
                    <a:pt x="115991" y="90342"/>
                  </a:cubicBezTo>
                  <a:cubicBezTo>
                    <a:pt x="107751" y="91350"/>
                    <a:pt x="97103" y="92610"/>
                    <a:pt x="84046" y="94122"/>
                  </a:cubicBezTo>
                  <a:cubicBezTo>
                    <a:pt x="73651" y="95382"/>
                    <a:pt x="63510" y="97146"/>
                    <a:pt x="53495" y="99540"/>
                  </a:cubicBezTo>
                  <a:cubicBezTo>
                    <a:pt x="43481" y="101934"/>
                    <a:pt x="34480" y="105462"/>
                    <a:pt x="26368" y="109998"/>
                  </a:cubicBezTo>
                  <a:cubicBezTo>
                    <a:pt x="18254" y="114660"/>
                    <a:pt x="11916" y="120960"/>
                    <a:pt x="7099" y="128898"/>
                  </a:cubicBezTo>
                  <a:cubicBezTo>
                    <a:pt x="2409" y="136836"/>
                    <a:pt x="0" y="146916"/>
                    <a:pt x="0" y="159264"/>
                  </a:cubicBezTo>
                  <a:cubicBezTo>
                    <a:pt x="0" y="173502"/>
                    <a:pt x="3296" y="185598"/>
                    <a:pt x="9761" y="195426"/>
                  </a:cubicBezTo>
                  <a:cubicBezTo>
                    <a:pt x="16226" y="205254"/>
                    <a:pt x="25100" y="212688"/>
                    <a:pt x="36382" y="217854"/>
                  </a:cubicBezTo>
                  <a:cubicBezTo>
                    <a:pt x="47664" y="223020"/>
                    <a:pt x="60087" y="225540"/>
                    <a:pt x="74031" y="225540"/>
                  </a:cubicBezTo>
                  <a:cubicBezTo>
                    <a:pt x="86074" y="225540"/>
                    <a:pt x="96469" y="223776"/>
                    <a:pt x="105089" y="220248"/>
                  </a:cubicBezTo>
                  <a:cubicBezTo>
                    <a:pt x="113709" y="216720"/>
                    <a:pt x="120808" y="212310"/>
                    <a:pt x="126386" y="207018"/>
                  </a:cubicBezTo>
                  <a:cubicBezTo>
                    <a:pt x="131837" y="201726"/>
                    <a:pt x="136020" y="196308"/>
                    <a:pt x="138809" y="190890"/>
                  </a:cubicBezTo>
                  <a:lnTo>
                    <a:pt x="140584" y="190890"/>
                  </a:lnTo>
                  <a:lnTo>
                    <a:pt x="140584" y="220626"/>
                  </a:lnTo>
                  <a:lnTo>
                    <a:pt x="182290" y="220626"/>
                  </a:lnTo>
                  <a:lnTo>
                    <a:pt x="182290" y="75978"/>
                  </a:lnTo>
                  <a:cubicBezTo>
                    <a:pt x="182290" y="60102"/>
                    <a:pt x="179501" y="47124"/>
                    <a:pt x="173923" y="37170"/>
                  </a:cubicBezTo>
                  <a:cubicBezTo>
                    <a:pt x="168219" y="27216"/>
                    <a:pt x="161247" y="19530"/>
                    <a:pt x="152627" y="14112"/>
                  </a:cubicBezTo>
                  <a:close/>
                  <a:moveTo>
                    <a:pt x="139443" y="142002"/>
                  </a:moveTo>
                  <a:cubicBezTo>
                    <a:pt x="139443" y="150570"/>
                    <a:pt x="137161" y="158634"/>
                    <a:pt x="132851" y="166194"/>
                  </a:cubicBezTo>
                  <a:cubicBezTo>
                    <a:pt x="128414" y="173754"/>
                    <a:pt x="122076" y="179802"/>
                    <a:pt x="113582" y="184464"/>
                  </a:cubicBezTo>
                  <a:cubicBezTo>
                    <a:pt x="105216" y="189126"/>
                    <a:pt x="95075" y="191394"/>
                    <a:pt x="83285" y="191394"/>
                  </a:cubicBezTo>
                  <a:cubicBezTo>
                    <a:pt x="71243" y="191394"/>
                    <a:pt x="61228" y="188748"/>
                    <a:pt x="53495" y="183330"/>
                  </a:cubicBezTo>
                  <a:cubicBezTo>
                    <a:pt x="45636" y="178038"/>
                    <a:pt x="41833" y="170100"/>
                    <a:pt x="41833" y="159642"/>
                  </a:cubicBezTo>
                  <a:cubicBezTo>
                    <a:pt x="41833" y="152082"/>
                    <a:pt x="43861" y="146034"/>
                    <a:pt x="47918" y="141372"/>
                  </a:cubicBezTo>
                  <a:cubicBezTo>
                    <a:pt x="51974" y="136836"/>
                    <a:pt x="57425" y="133308"/>
                    <a:pt x="64144" y="130788"/>
                  </a:cubicBezTo>
                  <a:cubicBezTo>
                    <a:pt x="70989" y="128394"/>
                    <a:pt x="78468" y="126630"/>
                    <a:pt x="86708" y="125496"/>
                  </a:cubicBezTo>
                  <a:cubicBezTo>
                    <a:pt x="90257" y="124992"/>
                    <a:pt x="94567" y="124488"/>
                    <a:pt x="99892" y="123732"/>
                  </a:cubicBezTo>
                  <a:cubicBezTo>
                    <a:pt x="105089" y="122976"/>
                    <a:pt x="110540" y="122220"/>
                    <a:pt x="115991" y="121338"/>
                  </a:cubicBezTo>
                  <a:cubicBezTo>
                    <a:pt x="121442" y="120456"/>
                    <a:pt x="126386" y="119322"/>
                    <a:pt x="130823" y="118062"/>
                  </a:cubicBezTo>
                  <a:cubicBezTo>
                    <a:pt x="135133" y="116802"/>
                    <a:pt x="138049" y="115416"/>
                    <a:pt x="139570" y="113904"/>
                  </a:cubicBezTo>
                  <a:lnTo>
                    <a:pt x="139570" y="14200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4" name="Freihandform 30">
              <a:extLst>
                <a:ext uri="{FF2B5EF4-FFF2-40B4-BE49-F238E27FC236}">
                  <a16:creationId xmlns:a16="http://schemas.microsoft.com/office/drawing/2014/main" id="{4CD6FB8B-DE54-4690-B9D4-F6C26DA2CE2C}"/>
                </a:ext>
              </a:extLst>
            </p:cNvPr>
            <p:cNvSpPr/>
            <p:nvPr/>
          </p:nvSpPr>
          <p:spPr bwMode="invGray">
            <a:xfrm>
              <a:off x="1341693" y="361466"/>
              <a:ext cx="43766" cy="64412"/>
            </a:xfrm>
            <a:custGeom>
              <a:avLst/>
              <a:gdLst>
                <a:gd name="connsiteX0" fmla="*/ 155415 w 200163"/>
                <a:gd name="connsiteY0" fmla="*/ 83034 h 294588"/>
                <a:gd name="connsiteX1" fmla="*/ 108132 w 200163"/>
                <a:gd name="connsiteY1" fmla="*/ 69678 h 294588"/>
                <a:gd name="connsiteX2" fmla="*/ 75299 w 200163"/>
                <a:gd name="connsiteY2" fmla="*/ 76356 h 294588"/>
                <a:gd name="connsiteX3" fmla="*/ 55904 w 200163"/>
                <a:gd name="connsiteY3" fmla="*/ 91980 h 294588"/>
                <a:gd name="connsiteX4" fmla="*/ 45129 w 200163"/>
                <a:gd name="connsiteY4" fmla="*/ 107730 h 294588"/>
                <a:gd name="connsiteX5" fmla="*/ 42594 w 200163"/>
                <a:gd name="connsiteY5" fmla="*/ 107730 h 294588"/>
                <a:gd name="connsiteX6" fmla="*/ 42594 w 200163"/>
                <a:gd name="connsiteY6" fmla="*/ 0 h 294588"/>
                <a:gd name="connsiteX7" fmla="*/ 0 w 200163"/>
                <a:gd name="connsiteY7" fmla="*/ 0 h 294588"/>
                <a:gd name="connsiteX8" fmla="*/ 0 w 200163"/>
                <a:gd name="connsiteY8" fmla="*/ 290304 h 294588"/>
                <a:gd name="connsiteX9" fmla="*/ 41579 w 200163"/>
                <a:gd name="connsiteY9" fmla="*/ 290304 h 294588"/>
                <a:gd name="connsiteX10" fmla="*/ 41579 w 200163"/>
                <a:gd name="connsiteY10" fmla="*/ 256410 h 294588"/>
                <a:gd name="connsiteX11" fmla="*/ 45129 w 200163"/>
                <a:gd name="connsiteY11" fmla="*/ 256410 h 294588"/>
                <a:gd name="connsiteX12" fmla="*/ 56157 w 200163"/>
                <a:gd name="connsiteY12" fmla="*/ 272286 h 294588"/>
                <a:gd name="connsiteX13" fmla="*/ 75933 w 200163"/>
                <a:gd name="connsiteY13" fmla="*/ 287910 h 294588"/>
                <a:gd name="connsiteX14" fmla="*/ 108512 w 200163"/>
                <a:gd name="connsiteY14" fmla="*/ 294588 h 294588"/>
                <a:gd name="connsiteX15" fmla="*/ 155796 w 200163"/>
                <a:gd name="connsiteY15" fmla="*/ 281106 h 294588"/>
                <a:gd name="connsiteX16" fmla="*/ 188375 w 200163"/>
                <a:gd name="connsiteY16" fmla="*/ 242424 h 294588"/>
                <a:gd name="connsiteX17" fmla="*/ 200164 w 200163"/>
                <a:gd name="connsiteY17" fmla="*/ 181944 h 294588"/>
                <a:gd name="connsiteX18" fmla="*/ 188248 w 200163"/>
                <a:gd name="connsiteY18" fmla="*/ 121590 h 294588"/>
                <a:gd name="connsiteX19" fmla="*/ 155415 w 200163"/>
                <a:gd name="connsiteY19" fmla="*/ 83034 h 294588"/>
                <a:gd name="connsiteX20" fmla="*/ 150345 w 200163"/>
                <a:gd name="connsiteY20" fmla="*/ 220752 h 294588"/>
                <a:gd name="connsiteX21" fmla="*/ 130823 w 200163"/>
                <a:gd name="connsiteY21" fmla="*/ 248346 h 294588"/>
                <a:gd name="connsiteX22" fmla="*/ 98878 w 200163"/>
                <a:gd name="connsiteY22" fmla="*/ 258426 h 294588"/>
                <a:gd name="connsiteX23" fmla="*/ 67820 w 200163"/>
                <a:gd name="connsiteY23" fmla="*/ 248724 h 294588"/>
                <a:gd name="connsiteX24" fmla="*/ 48425 w 200163"/>
                <a:gd name="connsiteY24" fmla="*/ 221760 h 294588"/>
                <a:gd name="connsiteX25" fmla="*/ 41706 w 200163"/>
                <a:gd name="connsiteY25" fmla="*/ 181440 h 294588"/>
                <a:gd name="connsiteX26" fmla="*/ 48298 w 200163"/>
                <a:gd name="connsiteY26" fmla="*/ 141750 h 294588"/>
                <a:gd name="connsiteX27" fmla="*/ 67567 w 200163"/>
                <a:gd name="connsiteY27" fmla="*/ 115290 h 294588"/>
                <a:gd name="connsiteX28" fmla="*/ 98878 w 200163"/>
                <a:gd name="connsiteY28" fmla="*/ 105840 h 294588"/>
                <a:gd name="connsiteX29" fmla="*/ 131076 w 200163"/>
                <a:gd name="connsiteY29" fmla="*/ 115794 h 294588"/>
                <a:gd name="connsiteX30" fmla="*/ 150471 w 200163"/>
                <a:gd name="connsiteY30" fmla="*/ 142884 h 294588"/>
                <a:gd name="connsiteX31" fmla="*/ 156937 w 200163"/>
                <a:gd name="connsiteY31" fmla="*/ 181566 h 294588"/>
                <a:gd name="connsiteX32" fmla="*/ 150345 w 200163"/>
                <a:gd name="connsiteY32" fmla="*/ 220752 h 29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163" h="294588">
                  <a:moveTo>
                    <a:pt x="155415" y="83034"/>
                  </a:moveTo>
                  <a:cubicBezTo>
                    <a:pt x="141598" y="74214"/>
                    <a:pt x="125752" y="69678"/>
                    <a:pt x="108132" y="69678"/>
                  </a:cubicBezTo>
                  <a:cubicBezTo>
                    <a:pt x="94567" y="69678"/>
                    <a:pt x="83539" y="71946"/>
                    <a:pt x="75299" y="76356"/>
                  </a:cubicBezTo>
                  <a:cubicBezTo>
                    <a:pt x="66933" y="80892"/>
                    <a:pt x="60468" y="86058"/>
                    <a:pt x="55904" y="91980"/>
                  </a:cubicBezTo>
                  <a:cubicBezTo>
                    <a:pt x="51214" y="97902"/>
                    <a:pt x="47664" y="103194"/>
                    <a:pt x="45129" y="107730"/>
                  </a:cubicBezTo>
                  <a:lnTo>
                    <a:pt x="42594" y="107730"/>
                  </a:lnTo>
                  <a:lnTo>
                    <a:pt x="42594" y="0"/>
                  </a:lnTo>
                  <a:lnTo>
                    <a:pt x="0" y="0"/>
                  </a:lnTo>
                  <a:lnTo>
                    <a:pt x="0" y="290304"/>
                  </a:lnTo>
                  <a:lnTo>
                    <a:pt x="41579" y="290304"/>
                  </a:lnTo>
                  <a:lnTo>
                    <a:pt x="41579" y="256410"/>
                  </a:lnTo>
                  <a:lnTo>
                    <a:pt x="45129" y="256410"/>
                  </a:lnTo>
                  <a:cubicBezTo>
                    <a:pt x="47664" y="261072"/>
                    <a:pt x="51341" y="266364"/>
                    <a:pt x="56157" y="272286"/>
                  </a:cubicBezTo>
                  <a:cubicBezTo>
                    <a:pt x="60848" y="278208"/>
                    <a:pt x="67567" y="283500"/>
                    <a:pt x="75933" y="287910"/>
                  </a:cubicBezTo>
                  <a:cubicBezTo>
                    <a:pt x="84299" y="292320"/>
                    <a:pt x="95202" y="294588"/>
                    <a:pt x="108512" y="294588"/>
                  </a:cubicBezTo>
                  <a:cubicBezTo>
                    <a:pt x="126133" y="294588"/>
                    <a:pt x="141978" y="290052"/>
                    <a:pt x="155796" y="281106"/>
                  </a:cubicBezTo>
                  <a:cubicBezTo>
                    <a:pt x="169613" y="272034"/>
                    <a:pt x="180388" y="259182"/>
                    <a:pt x="188375" y="242424"/>
                  </a:cubicBezTo>
                  <a:cubicBezTo>
                    <a:pt x="196234" y="225666"/>
                    <a:pt x="200164" y="205506"/>
                    <a:pt x="200164" y="181944"/>
                  </a:cubicBezTo>
                  <a:cubicBezTo>
                    <a:pt x="200164" y="158382"/>
                    <a:pt x="196234" y="138222"/>
                    <a:pt x="188248" y="121590"/>
                  </a:cubicBezTo>
                  <a:cubicBezTo>
                    <a:pt x="180262" y="104832"/>
                    <a:pt x="169360" y="91980"/>
                    <a:pt x="155415" y="83034"/>
                  </a:cubicBezTo>
                  <a:close/>
                  <a:moveTo>
                    <a:pt x="150345" y="220752"/>
                  </a:moveTo>
                  <a:cubicBezTo>
                    <a:pt x="145908" y="232344"/>
                    <a:pt x="139443" y="241542"/>
                    <a:pt x="130823" y="248346"/>
                  </a:cubicBezTo>
                  <a:cubicBezTo>
                    <a:pt x="122329" y="255150"/>
                    <a:pt x="111554" y="258426"/>
                    <a:pt x="98878" y="258426"/>
                  </a:cubicBezTo>
                  <a:cubicBezTo>
                    <a:pt x="86582" y="258426"/>
                    <a:pt x="76313" y="255150"/>
                    <a:pt x="67820" y="248724"/>
                  </a:cubicBezTo>
                  <a:cubicBezTo>
                    <a:pt x="59326" y="242298"/>
                    <a:pt x="52862" y="233226"/>
                    <a:pt x="48425" y="221760"/>
                  </a:cubicBezTo>
                  <a:cubicBezTo>
                    <a:pt x="43988" y="210294"/>
                    <a:pt x="41706" y="196812"/>
                    <a:pt x="41706" y="181440"/>
                  </a:cubicBezTo>
                  <a:cubicBezTo>
                    <a:pt x="41706" y="166320"/>
                    <a:pt x="43861" y="153090"/>
                    <a:pt x="48298" y="141750"/>
                  </a:cubicBezTo>
                  <a:cubicBezTo>
                    <a:pt x="52608" y="130410"/>
                    <a:pt x="59073" y="121590"/>
                    <a:pt x="67567" y="115290"/>
                  </a:cubicBezTo>
                  <a:cubicBezTo>
                    <a:pt x="76060" y="108990"/>
                    <a:pt x="86455" y="105840"/>
                    <a:pt x="98878" y="105840"/>
                  </a:cubicBezTo>
                  <a:cubicBezTo>
                    <a:pt x="111681" y="105840"/>
                    <a:pt x="122456" y="109116"/>
                    <a:pt x="131076" y="115794"/>
                  </a:cubicBezTo>
                  <a:cubicBezTo>
                    <a:pt x="139697" y="122472"/>
                    <a:pt x="146161" y="131418"/>
                    <a:pt x="150471" y="142884"/>
                  </a:cubicBezTo>
                  <a:cubicBezTo>
                    <a:pt x="154781" y="154350"/>
                    <a:pt x="156937" y="167202"/>
                    <a:pt x="156937" y="181566"/>
                  </a:cubicBezTo>
                  <a:cubicBezTo>
                    <a:pt x="156937" y="196056"/>
                    <a:pt x="154781" y="209160"/>
                    <a:pt x="150345" y="2207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5" name="Freihandform 31">
              <a:extLst>
                <a:ext uri="{FF2B5EF4-FFF2-40B4-BE49-F238E27FC236}">
                  <a16:creationId xmlns:a16="http://schemas.microsoft.com/office/drawing/2014/main" id="{0776F73C-2EA7-438E-9F38-7669ABC7897E}"/>
                </a:ext>
              </a:extLst>
            </p:cNvPr>
            <p:cNvSpPr/>
            <p:nvPr/>
          </p:nvSpPr>
          <p:spPr bwMode="invGray">
            <a:xfrm>
              <a:off x="1393026" y="376728"/>
              <a:ext cx="43378" cy="49204"/>
            </a:xfrm>
            <a:custGeom>
              <a:avLst/>
              <a:gdLst>
                <a:gd name="connsiteX0" fmla="*/ 168472 w 198388"/>
                <a:gd name="connsiteY0" fmla="*/ 25200 h 225035"/>
                <a:gd name="connsiteX1" fmla="*/ 137288 w 198388"/>
                <a:gd name="connsiteY1" fmla="*/ 6048 h 225035"/>
                <a:gd name="connsiteX2" fmla="*/ 101286 w 198388"/>
                <a:gd name="connsiteY2" fmla="*/ 0 h 225035"/>
                <a:gd name="connsiteX3" fmla="*/ 48044 w 198388"/>
                <a:gd name="connsiteY3" fmla="*/ 14364 h 225035"/>
                <a:gd name="connsiteX4" fmla="*/ 12677 w 198388"/>
                <a:gd name="connsiteY4" fmla="*/ 54180 h 225035"/>
                <a:gd name="connsiteX5" fmla="*/ 0 w 198388"/>
                <a:gd name="connsiteY5" fmla="*/ 113148 h 225035"/>
                <a:gd name="connsiteX6" fmla="*/ 12677 w 198388"/>
                <a:gd name="connsiteY6" fmla="*/ 172242 h 225035"/>
                <a:gd name="connsiteX7" fmla="*/ 48551 w 198388"/>
                <a:gd name="connsiteY7" fmla="*/ 211176 h 225035"/>
                <a:gd name="connsiteX8" fmla="*/ 104328 w 198388"/>
                <a:gd name="connsiteY8" fmla="*/ 225036 h 225035"/>
                <a:gd name="connsiteX9" fmla="*/ 147048 w 198388"/>
                <a:gd name="connsiteY9" fmla="*/ 217728 h 225035"/>
                <a:gd name="connsiteX10" fmla="*/ 178233 w 198388"/>
                <a:gd name="connsiteY10" fmla="*/ 197190 h 225035"/>
                <a:gd name="connsiteX11" fmla="*/ 195600 w 198388"/>
                <a:gd name="connsiteY11" fmla="*/ 166194 h 225035"/>
                <a:gd name="connsiteX12" fmla="*/ 155289 w 198388"/>
                <a:gd name="connsiteY12" fmla="*/ 159012 h 225035"/>
                <a:gd name="connsiteX13" fmla="*/ 144133 w 198388"/>
                <a:gd name="connsiteY13" fmla="*/ 176148 h 225035"/>
                <a:gd name="connsiteX14" fmla="*/ 126893 w 198388"/>
                <a:gd name="connsiteY14" fmla="*/ 186606 h 225035"/>
                <a:gd name="connsiteX15" fmla="*/ 104835 w 198388"/>
                <a:gd name="connsiteY15" fmla="*/ 190134 h 225035"/>
                <a:gd name="connsiteX16" fmla="*/ 72130 w 198388"/>
                <a:gd name="connsiteY16" fmla="*/ 182070 h 225035"/>
                <a:gd name="connsiteX17" fmla="*/ 50453 w 198388"/>
                <a:gd name="connsiteY17" fmla="*/ 158760 h 225035"/>
                <a:gd name="connsiteX18" fmla="*/ 42974 w 198388"/>
                <a:gd name="connsiteY18" fmla="*/ 124614 h 225035"/>
                <a:gd name="connsiteX19" fmla="*/ 198389 w 198388"/>
                <a:gd name="connsiteY19" fmla="*/ 124614 h 225035"/>
                <a:gd name="connsiteX20" fmla="*/ 198389 w 198388"/>
                <a:gd name="connsiteY20" fmla="*/ 109620 h 225035"/>
                <a:gd name="connsiteX21" fmla="*/ 190403 w 198388"/>
                <a:gd name="connsiteY21" fmla="*/ 59220 h 225035"/>
                <a:gd name="connsiteX22" fmla="*/ 168472 w 198388"/>
                <a:gd name="connsiteY22" fmla="*/ 25200 h 225035"/>
                <a:gd name="connsiteX23" fmla="*/ 42974 w 198388"/>
                <a:gd name="connsiteY23" fmla="*/ 92736 h 225035"/>
                <a:gd name="connsiteX24" fmla="*/ 49692 w 198388"/>
                <a:gd name="connsiteY24" fmla="*/ 66402 h 225035"/>
                <a:gd name="connsiteX25" fmla="*/ 70228 w 198388"/>
                <a:gd name="connsiteY25" fmla="*/ 43722 h 225035"/>
                <a:gd name="connsiteX26" fmla="*/ 101539 w 198388"/>
                <a:gd name="connsiteY26" fmla="*/ 35028 h 225035"/>
                <a:gd name="connsiteX27" fmla="*/ 130442 w 198388"/>
                <a:gd name="connsiteY27" fmla="*/ 42588 h 225035"/>
                <a:gd name="connsiteX28" fmla="*/ 149584 w 198388"/>
                <a:gd name="connsiteY28" fmla="*/ 63126 h 225035"/>
                <a:gd name="connsiteX29" fmla="*/ 156429 w 198388"/>
                <a:gd name="connsiteY29" fmla="*/ 92862 h 225035"/>
                <a:gd name="connsiteX30" fmla="*/ 42974 w 198388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8" h="225035">
                  <a:moveTo>
                    <a:pt x="168472" y="25200"/>
                  </a:move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1043" y="189000"/>
                    <a:pt x="33086" y="201978"/>
                    <a:pt x="48551" y="211176"/>
                  </a:cubicBezTo>
                  <a:cubicBezTo>
                    <a:pt x="64144" y="220374"/>
                    <a:pt x="82651" y="225036"/>
                    <a:pt x="104328" y="225036"/>
                  </a:cubicBezTo>
                  <a:cubicBezTo>
                    <a:pt x="120301" y="225036"/>
                    <a:pt x="134499" y="222642"/>
                    <a:pt x="147048" y="217728"/>
                  </a:cubicBezTo>
                  <a:cubicBezTo>
                    <a:pt x="159599" y="212814"/>
                    <a:pt x="169993" y="206010"/>
                    <a:pt x="178233" y="197190"/>
                  </a:cubicBezTo>
                  <a:cubicBezTo>
                    <a:pt x="186600" y="188370"/>
                    <a:pt x="192304" y="178038"/>
                    <a:pt x="195600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5" y="190134"/>
                  </a:cubicBezTo>
                  <a:cubicBezTo>
                    <a:pt x="92412" y="190134"/>
                    <a:pt x="81511" y="187488"/>
                    <a:pt x="72130" y="182070"/>
                  </a:cubicBezTo>
                  <a:cubicBezTo>
                    <a:pt x="62876" y="176778"/>
                    <a:pt x="55523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2" y="66402"/>
                  </a:cubicBezTo>
                  <a:cubicBezTo>
                    <a:pt x="54509" y="57078"/>
                    <a:pt x="61355" y="49518"/>
                    <a:pt x="70228" y="43722"/>
                  </a:cubicBezTo>
                  <a:cubicBezTo>
                    <a:pt x="79102" y="37926"/>
                    <a:pt x="89497" y="35028"/>
                    <a:pt x="101539" y="35028"/>
                  </a:cubicBezTo>
                  <a:cubicBezTo>
                    <a:pt x="112568" y="35028"/>
                    <a:pt x="122202" y="37548"/>
                    <a:pt x="130442" y="42588"/>
                  </a:cubicBezTo>
                  <a:cubicBezTo>
                    <a:pt x="138682" y="47628"/>
                    <a:pt x="145020" y="54432"/>
                    <a:pt x="149584" y="63126"/>
                  </a:cubicBezTo>
                  <a:cubicBezTo>
                    <a:pt x="154147" y="71820"/>
                    <a:pt x="156429" y="81648"/>
                    <a:pt x="156429" y="92862"/>
                  </a:cubicBezTo>
                  <a:lnTo>
                    <a:pt x="42974" y="9286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6" name="Freihandform 32">
              <a:extLst>
                <a:ext uri="{FF2B5EF4-FFF2-40B4-BE49-F238E27FC236}">
                  <a16:creationId xmlns:a16="http://schemas.microsoft.com/office/drawing/2014/main" id="{96A47144-B517-4D9E-9D34-8B4529613420}"/>
                </a:ext>
              </a:extLst>
            </p:cNvPr>
            <p:cNvSpPr/>
            <p:nvPr/>
          </p:nvSpPr>
          <p:spPr bwMode="invGray">
            <a:xfrm>
              <a:off x="144225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3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3 w 123723"/>
                <a:gd name="connsiteY16" fmla="*/ 247590 h 272810"/>
                <a:gd name="connsiteX17" fmla="*/ 64651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8" y="234738"/>
                    <a:pt x="104456" y="234990"/>
                    <a:pt x="101033" y="234990"/>
                  </a:cubicBezTo>
                  <a:cubicBezTo>
                    <a:pt x="96342" y="234990"/>
                    <a:pt x="92032" y="234234"/>
                    <a:pt x="88103" y="232848"/>
                  </a:cubicBezTo>
                  <a:cubicBezTo>
                    <a:pt x="84173" y="231336"/>
                    <a:pt x="81004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3" y="247590"/>
                  </a:cubicBezTo>
                  <a:cubicBezTo>
                    <a:pt x="47031" y="256284"/>
                    <a:pt x="54890" y="262710"/>
                    <a:pt x="64651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9" y="272160"/>
                    <a:pt x="113202" y="271152"/>
                  </a:cubicBezTo>
                  <a:cubicBezTo>
                    <a:pt x="117766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7" y="233352"/>
                    <a:pt x="112568" y="233730"/>
                    <a:pt x="110033" y="234234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7" name="Freihandform 33">
              <a:extLst>
                <a:ext uri="{FF2B5EF4-FFF2-40B4-BE49-F238E27FC236}">
                  <a16:creationId xmlns:a16="http://schemas.microsoft.com/office/drawing/2014/main" id="{6675D025-AB85-467D-AF5E-E67FCC064833}"/>
                </a:ext>
              </a:extLst>
            </p:cNvPr>
            <p:cNvSpPr/>
            <p:nvPr/>
          </p:nvSpPr>
          <p:spPr bwMode="invGray">
            <a:xfrm>
              <a:off x="147418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2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2 w 123723"/>
                <a:gd name="connsiteY16" fmla="*/ 247590 h 272810"/>
                <a:gd name="connsiteX17" fmla="*/ 64650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7" y="234738"/>
                    <a:pt x="104455" y="234990"/>
                    <a:pt x="101033" y="234990"/>
                  </a:cubicBezTo>
                  <a:cubicBezTo>
                    <a:pt x="96342" y="234990"/>
                    <a:pt x="92032" y="234234"/>
                    <a:pt x="88102" y="232848"/>
                  </a:cubicBezTo>
                  <a:cubicBezTo>
                    <a:pt x="84173" y="231336"/>
                    <a:pt x="81003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2" y="247590"/>
                  </a:cubicBezTo>
                  <a:cubicBezTo>
                    <a:pt x="47030" y="256284"/>
                    <a:pt x="54890" y="262710"/>
                    <a:pt x="64650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8" y="272160"/>
                    <a:pt x="113202" y="271152"/>
                  </a:cubicBezTo>
                  <a:cubicBezTo>
                    <a:pt x="117765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6" y="233352"/>
                    <a:pt x="112695" y="233730"/>
                    <a:pt x="110033" y="234234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8" name="Freihandform 34">
              <a:extLst>
                <a:ext uri="{FF2B5EF4-FFF2-40B4-BE49-F238E27FC236}">
                  <a16:creationId xmlns:a16="http://schemas.microsoft.com/office/drawing/2014/main" id="{AB95B676-DB6F-411F-BA1D-501D07F12161}"/>
                </a:ext>
              </a:extLst>
            </p:cNvPr>
            <p:cNvSpPr/>
            <p:nvPr/>
          </p:nvSpPr>
          <p:spPr bwMode="invGray">
            <a:xfrm>
              <a:off x="1507803" y="376728"/>
              <a:ext cx="43378" cy="49204"/>
            </a:xfrm>
            <a:custGeom>
              <a:avLst/>
              <a:gdLst>
                <a:gd name="connsiteX0" fmla="*/ 168472 w 198389"/>
                <a:gd name="connsiteY0" fmla="*/ 25200 h 225035"/>
                <a:gd name="connsiteX1" fmla="*/ 137288 w 198389"/>
                <a:gd name="connsiteY1" fmla="*/ 6048 h 225035"/>
                <a:gd name="connsiteX2" fmla="*/ 101286 w 198389"/>
                <a:gd name="connsiteY2" fmla="*/ 0 h 225035"/>
                <a:gd name="connsiteX3" fmla="*/ 48044 w 198389"/>
                <a:gd name="connsiteY3" fmla="*/ 14364 h 225035"/>
                <a:gd name="connsiteX4" fmla="*/ 12677 w 198389"/>
                <a:gd name="connsiteY4" fmla="*/ 54180 h 225035"/>
                <a:gd name="connsiteX5" fmla="*/ 0 w 198389"/>
                <a:gd name="connsiteY5" fmla="*/ 113148 h 225035"/>
                <a:gd name="connsiteX6" fmla="*/ 12677 w 198389"/>
                <a:gd name="connsiteY6" fmla="*/ 172242 h 225035"/>
                <a:gd name="connsiteX7" fmla="*/ 48552 w 198389"/>
                <a:gd name="connsiteY7" fmla="*/ 211176 h 225035"/>
                <a:gd name="connsiteX8" fmla="*/ 104329 w 198389"/>
                <a:gd name="connsiteY8" fmla="*/ 225036 h 225035"/>
                <a:gd name="connsiteX9" fmla="*/ 147049 w 198389"/>
                <a:gd name="connsiteY9" fmla="*/ 217728 h 225035"/>
                <a:gd name="connsiteX10" fmla="*/ 178234 w 198389"/>
                <a:gd name="connsiteY10" fmla="*/ 197190 h 225035"/>
                <a:gd name="connsiteX11" fmla="*/ 195601 w 198389"/>
                <a:gd name="connsiteY11" fmla="*/ 166194 h 225035"/>
                <a:gd name="connsiteX12" fmla="*/ 155289 w 198389"/>
                <a:gd name="connsiteY12" fmla="*/ 159012 h 225035"/>
                <a:gd name="connsiteX13" fmla="*/ 144133 w 198389"/>
                <a:gd name="connsiteY13" fmla="*/ 176148 h 225035"/>
                <a:gd name="connsiteX14" fmla="*/ 126893 w 198389"/>
                <a:gd name="connsiteY14" fmla="*/ 186606 h 225035"/>
                <a:gd name="connsiteX15" fmla="*/ 104836 w 198389"/>
                <a:gd name="connsiteY15" fmla="*/ 190134 h 225035"/>
                <a:gd name="connsiteX16" fmla="*/ 72130 w 198389"/>
                <a:gd name="connsiteY16" fmla="*/ 182070 h 225035"/>
                <a:gd name="connsiteX17" fmla="*/ 50453 w 198389"/>
                <a:gd name="connsiteY17" fmla="*/ 158760 h 225035"/>
                <a:gd name="connsiteX18" fmla="*/ 42974 w 198389"/>
                <a:gd name="connsiteY18" fmla="*/ 124614 h 225035"/>
                <a:gd name="connsiteX19" fmla="*/ 198389 w 198389"/>
                <a:gd name="connsiteY19" fmla="*/ 124614 h 225035"/>
                <a:gd name="connsiteX20" fmla="*/ 198389 w 198389"/>
                <a:gd name="connsiteY20" fmla="*/ 109620 h 225035"/>
                <a:gd name="connsiteX21" fmla="*/ 190403 w 198389"/>
                <a:gd name="connsiteY21" fmla="*/ 59220 h 225035"/>
                <a:gd name="connsiteX22" fmla="*/ 168472 w 198389"/>
                <a:gd name="connsiteY22" fmla="*/ 25200 h 225035"/>
                <a:gd name="connsiteX23" fmla="*/ 42974 w 198389"/>
                <a:gd name="connsiteY23" fmla="*/ 92736 h 225035"/>
                <a:gd name="connsiteX24" fmla="*/ 49693 w 198389"/>
                <a:gd name="connsiteY24" fmla="*/ 66402 h 225035"/>
                <a:gd name="connsiteX25" fmla="*/ 70229 w 198389"/>
                <a:gd name="connsiteY25" fmla="*/ 43722 h 225035"/>
                <a:gd name="connsiteX26" fmla="*/ 101540 w 198389"/>
                <a:gd name="connsiteY26" fmla="*/ 35028 h 225035"/>
                <a:gd name="connsiteX27" fmla="*/ 130443 w 198389"/>
                <a:gd name="connsiteY27" fmla="*/ 42588 h 225035"/>
                <a:gd name="connsiteX28" fmla="*/ 149584 w 198389"/>
                <a:gd name="connsiteY28" fmla="*/ 63126 h 225035"/>
                <a:gd name="connsiteX29" fmla="*/ 156430 w 198389"/>
                <a:gd name="connsiteY29" fmla="*/ 92862 h 225035"/>
                <a:gd name="connsiteX30" fmla="*/ 42974 w 198389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9" h="225035">
                  <a:moveTo>
                    <a:pt x="168472" y="25200"/>
                  </a:move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9000"/>
                    <a:pt x="33086" y="201978"/>
                    <a:pt x="48552" y="211176"/>
                  </a:cubicBezTo>
                  <a:cubicBezTo>
                    <a:pt x="64144" y="220374"/>
                    <a:pt x="82652" y="225036"/>
                    <a:pt x="104329" y="225036"/>
                  </a:cubicBezTo>
                  <a:cubicBezTo>
                    <a:pt x="120301" y="225036"/>
                    <a:pt x="134499" y="222642"/>
                    <a:pt x="147049" y="217728"/>
                  </a:cubicBezTo>
                  <a:cubicBezTo>
                    <a:pt x="159599" y="212814"/>
                    <a:pt x="169993" y="206010"/>
                    <a:pt x="178234" y="197190"/>
                  </a:cubicBezTo>
                  <a:cubicBezTo>
                    <a:pt x="186600" y="188370"/>
                    <a:pt x="192304" y="178038"/>
                    <a:pt x="195601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6" y="190134"/>
                  </a:cubicBezTo>
                  <a:cubicBezTo>
                    <a:pt x="92413" y="190134"/>
                    <a:pt x="81511" y="187488"/>
                    <a:pt x="72130" y="182070"/>
                  </a:cubicBezTo>
                  <a:cubicBezTo>
                    <a:pt x="62876" y="176778"/>
                    <a:pt x="55524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3" y="66402"/>
                  </a:cubicBezTo>
                  <a:cubicBezTo>
                    <a:pt x="54510" y="57078"/>
                    <a:pt x="61355" y="49518"/>
                    <a:pt x="70229" y="43722"/>
                  </a:cubicBezTo>
                  <a:cubicBezTo>
                    <a:pt x="79102" y="37926"/>
                    <a:pt x="89497" y="35028"/>
                    <a:pt x="101540" y="35028"/>
                  </a:cubicBezTo>
                  <a:cubicBezTo>
                    <a:pt x="112568" y="35028"/>
                    <a:pt x="122203" y="37548"/>
                    <a:pt x="130443" y="42588"/>
                  </a:cubicBezTo>
                  <a:cubicBezTo>
                    <a:pt x="138682" y="47628"/>
                    <a:pt x="145021" y="54432"/>
                    <a:pt x="149584" y="63126"/>
                  </a:cubicBezTo>
                  <a:cubicBezTo>
                    <a:pt x="154148" y="71820"/>
                    <a:pt x="156430" y="81648"/>
                    <a:pt x="156430" y="92862"/>
                  </a:cubicBezTo>
                  <a:lnTo>
                    <a:pt x="42974" y="9286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9" name="Freihandform 35">
              <a:extLst>
                <a:ext uri="{FF2B5EF4-FFF2-40B4-BE49-F238E27FC236}">
                  <a16:creationId xmlns:a16="http://schemas.microsoft.com/office/drawing/2014/main" id="{37D4CE77-3FC3-4C90-8C7C-52858E35942C}"/>
                </a:ext>
              </a:extLst>
            </p:cNvPr>
            <p:cNvSpPr/>
            <p:nvPr/>
          </p:nvSpPr>
          <p:spPr bwMode="invGray">
            <a:xfrm>
              <a:off x="1560854" y="376618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0" name="Freihandform 36">
              <a:extLst>
                <a:ext uri="{FF2B5EF4-FFF2-40B4-BE49-F238E27FC236}">
                  <a16:creationId xmlns:a16="http://schemas.microsoft.com/office/drawing/2014/main" id="{663953A3-132C-4F8A-A542-F246666170C7}"/>
                </a:ext>
              </a:extLst>
            </p:cNvPr>
            <p:cNvSpPr/>
            <p:nvPr/>
          </p:nvSpPr>
          <p:spPr bwMode="invGray">
            <a:xfrm>
              <a:off x="1125885" y="466265"/>
              <a:ext cx="67325" cy="47634"/>
            </a:xfrm>
            <a:custGeom>
              <a:avLst/>
              <a:gdLst>
                <a:gd name="connsiteX0" fmla="*/ 221207 w 307914"/>
                <a:gd name="connsiteY0" fmla="*/ 159264 h 217854"/>
                <a:gd name="connsiteX1" fmla="*/ 219052 w 307914"/>
                <a:gd name="connsiteY1" fmla="*/ 159264 h 217854"/>
                <a:gd name="connsiteX2" fmla="*/ 176205 w 307914"/>
                <a:gd name="connsiteY2" fmla="*/ 0 h 217854"/>
                <a:gd name="connsiteX3" fmla="*/ 132217 w 307914"/>
                <a:gd name="connsiteY3" fmla="*/ 0 h 217854"/>
                <a:gd name="connsiteX4" fmla="*/ 89117 w 307914"/>
                <a:gd name="connsiteY4" fmla="*/ 159894 h 217854"/>
                <a:gd name="connsiteX5" fmla="*/ 86961 w 307914"/>
                <a:gd name="connsiteY5" fmla="*/ 159894 h 217854"/>
                <a:gd name="connsiteX6" fmla="*/ 43988 w 307914"/>
                <a:gd name="connsiteY6" fmla="*/ 0 h 217854"/>
                <a:gd name="connsiteX7" fmla="*/ 0 w 307914"/>
                <a:gd name="connsiteY7" fmla="*/ 0 h 217854"/>
                <a:gd name="connsiteX8" fmla="*/ 64397 w 307914"/>
                <a:gd name="connsiteY8" fmla="*/ 217854 h 217854"/>
                <a:gd name="connsiteX9" fmla="*/ 107751 w 307914"/>
                <a:gd name="connsiteY9" fmla="*/ 217854 h 217854"/>
                <a:gd name="connsiteX10" fmla="*/ 152246 w 307914"/>
                <a:gd name="connsiteY10" fmla="*/ 60606 h 217854"/>
                <a:gd name="connsiteX11" fmla="*/ 155542 w 307914"/>
                <a:gd name="connsiteY11" fmla="*/ 60606 h 217854"/>
                <a:gd name="connsiteX12" fmla="*/ 200037 w 307914"/>
                <a:gd name="connsiteY12" fmla="*/ 217854 h 217854"/>
                <a:gd name="connsiteX13" fmla="*/ 243518 w 307914"/>
                <a:gd name="connsiteY13" fmla="*/ 217854 h 217854"/>
                <a:gd name="connsiteX14" fmla="*/ 307915 w 307914"/>
                <a:gd name="connsiteY14" fmla="*/ 0 h 217854"/>
                <a:gd name="connsiteX15" fmla="*/ 263800 w 307914"/>
                <a:gd name="connsiteY15" fmla="*/ 0 h 21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7914" h="217854">
                  <a:moveTo>
                    <a:pt x="221207" y="159264"/>
                  </a:moveTo>
                  <a:lnTo>
                    <a:pt x="219052" y="159264"/>
                  </a:lnTo>
                  <a:lnTo>
                    <a:pt x="176205" y="0"/>
                  </a:lnTo>
                  <a:lnTo>
                    <a:pt x="132217" y="0"/>
                  </a:lnTo>
                  <a:lnTo>
                    <a:pt x="89117" y="159894"/>
                  </a:lnTo>
                  <a:lnTo>
                    <a:pt x="86961" y="159894"/>
                  </a:lnTo>
                  <a:lnTo>
                    <a:pt x="43988" y="0"/>
                  </a:lnTo>
                  <a:lnTo>
                    <a:pt x="0" y="0"/>
                  </a:lnTo>
                  <a:lnTo>
                    <a:pt x="64397" y="217854"/>
                  </a:lnTo>
                  <a:lnTo>
                    <a:pt x="107751" y="217854"/>
                  </a:lnTo>
                  <a:lnTo>
                    <a:pt x="152246" y="60606"/>
                  </a:lnTo>
                  <a:lnTo>
                    <a:pt x="155542" y="60606"/>
                  </a:lnTo>
                  <a:lnTo>
                    <a:pt x="200037" y="217854"/>
                  </a:lnTo>
                  <a:lnTo>
                    <a:pt x="243518" y="217854"/>
                  </a:lnTo>
                  <a:lnTo>
                    <a:pt x="307915" y="0"/>
                  </a:lnTo>
                  <a:lnTo>
                    <a:pt x="263800" y="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1" name="Freihandform 37">
              <a:extLst>
                <a:ext uri="{FF2B5EF4-FFF2-40B4-BE49-F238E27FC236}">
                  <a16:creationId xmlns:a16="http://schemas.microsoft.com/office/drawing/2014/main" id="{A9437713-E829-48C1-8155-9D1DB29E79D5}"/>
                </a:ext>
              </a:extLst>
            </p:cNvPr>
            <p:cNvSpPr/>
            <p:nvPr/>
          </p:nvSpPr>
          <p:spPr bwMode="invGray">
            <a:xfrm>
              <a:off x="1198532" y="465659"/>
              <a:ext cx="44625" cy="49177"/>
            </a:xfrm>
            <a:custGeom>
              <a:avLst/>
              <a:gdLst>
                <a:gd name="connsiteX0" fmla="*/ 155796 w 204093"/>
                <a:gd name="connsiteY0" fmla="*/ 13986 h 224910"/>
                <a:gd name="connsiteX1" fmla="*/ 102047 w 204093"/>
                <a:gd name="connsiteY1" fmla="*/ 0 h 224910"/>
                <a:gd name="connsiteX2" fmla="*/ 48298 w 204093"/>
                <a:gd name="connsiteY2" fmla="*/ 13986 h 224910"/>
                <a:gd name="connsiteX3" fmla="*/ 12677 w 204093"/>
                <a:gd name="connsiteY3" fmla="*/ 53424 h 224910"/>
                <a:gd name="connsiteX4" fmla="*/ 0 w 204093"/>
                <a:gd name="connsiteY4" fmla="*/ 112644 h 224910"/>
                <a:gd name="connsiteX5" fmla="*/ 12677 w 204093"/>
                <a:gd name="connsiteY5" fmla="*/ 171612 h 224910"/>
                <a:gd name="connsiteX6" fmla="*/ 48298 w 204093"/>
                <a:gd name="connsiteY6" fmla="*/ 210924 h 224910"/>
                <a:gd name="connsiteX7" fmla="*/ 102047 w 204093"/>
                <a:gd name="connsiteY7" fmla="*/ 224910 h 224910"/>
                <a:gd name="connsiteX8" fmla="*/ 155796 w 204093"/>
                <a:gd name="connsiteY8" fmla="*/ 210924 h 224910"/>
                <a:gd name="connsiteX9" fmla="*/ 191417 w 204093"/>
                <a:gd name="connsiteY9" fmla="*/ 171612 h 224910"/>
                <a:gd name="connsiteX10" fmla="*/ 204094 w 204093"/>
                <a:gd name="connsiteY10" fmla="*/ 112644 h 224910"/>
                <a:gd name="connsiteX11" fmla="*/ 191417 w 204093"/>
                <a:gd name="connsiteY11" fmla="*/ 53424 h 224910"/>
                <a:gd name="connsiteX12" fmla="*/ 155796 w 204093"/>
                <a:gd name="connsiteY12" fmla="*/ 13986 h 224910"/>
                <a:gd name="connsiteX13" fmla="*/ 154655 w 204093"/>
                <a:gd name="connsiteY13" fmla="*/ 150948 h 224910"/>
                <a:gd name="connsiteX14" fmla="*/ 135133 w 204093"/>
                <a:gd name="connsiteY14" fmla="*/ 178920 h 224910"/>
                <a:gd name="connsiteX15" fmla="*/ 102047 w 204093"/>
                <a:gd name="connsiteY15" fmla="*/ 189378 h 224910"/>
                <a:gd name="connsiteX16" fmla="*/ 68707 w 204093"/>
                <a:gd name="connsiteY16" fmla="*/ 178920 h 224910"/>
                <a:gd name="connsiteX17" fmla="*/ 49185 w 204093"/>
                <a:gd name="connsiteY17" fmla="*/ 150948 h 224910"/>
                <a:gd name="connsiteX18" fmla="*/ 42847 w 204093"/>
                <a:gd name="connsiteY18" fmla="*/ 112518 h 224910"/>
                <a:gd name="connsiteX19" fmla="*/ 49185 w 204093"/>
                <a:gd name="connsiteY19" fmla="*/ 74214 h 224910"/>
                <a:gd name="connsiteX20" fmla="*/ 68707 w 204093"/>
                <a:gd name="connsiteY20" fmla="*/ 46116 h 224910"/>
                <a:gd name="connsiteX21" fmla="*/ 102047 w 204093"/>
                <a:gd name="connsiteY21" fmla="*/ 35532 h 224910"/>
                <a:gd name="connsiteX22" fmla="*/ 135133 w 204093"/>
                <a:gd name="connsiteY22" fmla="*/ 46116 h 224910"/>
                <a:gd name="connsiteX23" fmla="*/ 154655 w 204093"/>
                <a:gd name="connsiteY23" fmla="*/ 74214 h 224910"/>
                <a:gd name="connsiteX24" fmla="*/ 160993 w 204093"/>
                <a:gd name="connsiteY24" fmla="*/ 112518 h 224910"/>
                <a:gd name="connsiteX25" fmla="*/ 154655 w 204093"/>
                <a:gd name="connsiteY25" fmla="*/ 150948 h 224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10">
                  <a:moveTo>
                    <a:pt x="155796" y="13986"/>
                  </a:move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6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3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6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0" y="154854"/>
                    <a:pt x="204094" y="135072"/>
                    <a:pt x="204094" y="112644"/>
                  </a:cubicBezTo>
                  <a:cubicBezTo>
                    <a:pt x="204094" y="90090"/>
                    <a:pt x="199910" y="70308"/>
                    <a:pt x="191417" y="53424"/>
                  </a:cubicBezTo>
                  <a:cubicBezTo>
                    <a:pt x="182924" y="36540"/>
                    <a:pt x="171007" y="23310"/>
                    <a:pt x="155796" y="13986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09" y="189378"/>
                    <a:pt x="77581" y="185850"/>
                    <a:pt x="68707" y="178920"/>
                  </a:cubicBezTo>
                  <a:cubicBezTo>
                    <a:pt x="59961" y="171990"/>
                    <a:pt x="53368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8" y="62496"/>
                    <a:pt x="59961" y="53172"/>
                    <a:pt x="68707" y="46116"/>
                  </a:cubicBezTo>
                  <a:cubicBezTo>
                    <a:pt x="77454" y="39060"/>
                    <a:pt x="88609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2" name="Freihandform 38">
              <a:extLst>
                <a:ext uri="{FF2B5EF4-FFF2-40B4-BE49-F238E27FC236}">
                  <a16:creationId xmlns:a16="http://schemas.microsoft.com/office/drawing/2014/main" id="{A557F429-6F93-4F3C-B06C-6AA11804ED92}"/>
                </a:ext>
              </a:extLst>
            </p:cNvPr>
            <p:cNvSpPr/>
            <p:nvPr/>
          </p:nvSpPr>
          <p:spPr bwMode="invGray">
            <a:xfrm>
              <a:off x="1253635" y="465549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3" name="Freihandform 39">
              <a:extLst>
                <a:ext uri="{FF2B5EF4-FFF2-40B4-BE49-F238E27FC236}">
                  <a16:creationId xmlns:a16="http://schemas.microsoft.com/office/drawing/2014/main" id="{7DC88ECB-9263-4363-9D71-4514FF702696}"/>
                </a:ext>
              </a:extLst>
            </p:cNvPr>
            <p:cNvSpPr/>
            <p:nvPr/>
          </p:nvSpPr>
          <p:spPr bwMode="invGray">
            <a:xfrm>
              <a:off x="1287450" y="450397"/>
              <a:ext cx="9341" cy="63475"/>
            </a:xfrm>
            <a:custGeom>
              <a:avLst/>
              <a:gdLst>
                <a:gd name="connsiteX0" fmla="*/ 0 w 42720"/>
                <a:gd name="connsiteY0" fmla="*/ 0 h 290304"/>
                <a:gd name="connsiteX1" fmla="*/ 42720 w 42720"/>
                <a:gd name="connsiteY1" fmla="*/ 0 h 290304"/>
                <a:gd name="connsiteX2" fmla="*/ 42720 w 42720"/>
                <a:gd name="connsiteY2" fmla="*/ 290304 h 290304"/>
                <a:gd name="connsiteX3" fmla="*/ 0 w 42720"/>
                <a:gd name="connsiteY3" fmla="*/ 290304 h 29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90304">
                  <a:moveTo>
                    <a:pt x="0" y="0"/>
                  </a:moveTo>
                  <a:lnTo>
                    <a:pt x="42720" y="0"/>
                  </a:lnTo>
                  <a:lnTo>
                    <a:pt x="42720" y="290304"/>
                  </a:lnTo>
                  <a:lnTo>
                    <a:pt x="0" y="290304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4" name="Freihandform 40">
              <a:extLst>
                <a:ext uri="{FF2B5EF4-FFF2-40B4-BE49-F238E27FC236}">
                  <a16:creationId xmlns:a16="http://schemas.microsoft.com/office/drawing/2014/main" id="{BE070819-7F8D-4874-8710-2FC1516B1249}"/>
                </a:ext>
              </a:extLst>
            </p:cNvPr>
            <p:cNvSpPr/>
            <p:nvPr/>
          </p:nvSpPr>
          <p:spPr bwMode="invGray">
            <a:xfrm>
              <a:off x="1307323" y="450397"/>
              <a:ext cx="43793" cy="64411"/>
            </a:xfrm>
            <a:custGeom>
              <a:avLst/>
              <a:gdLst>
                <a:gd name="connsiteX0" fmla="*/ 157444 w 200290"/>
                <a:gd name="connsiteY0" fmla="*/ 107856 h 294587"/>
                <a:gd name="connsiteX1" fmla="*/ 154908 w 200290"/>
                <a:gd name="connsiteY1" fmla="*/ 107856 h 294587"/>
                <a:gd name="connsiteX2" fmla="*/ 144133 w 200290"/>
                <a:gd name="connsiteY2" fmla="*/ 92106 h 294587"/>
                <a:gd name="connsiteX3" fmla="*/ 124738 w 200290"/>
                <a:gd name="connsiteY3" fmla="*/ 76482 h 294587"/>
                <a:gd name="connsiteX4" fmla="*/ 91905 w 200290"/>
                <a:gd name="connsiteY4" fmla="*/ 69804 h 294587"/>
                <a:gd name="connsiteX5" fmla="*/ 44622 w 200290"/>
                <a:gd name="connsiteY5" fmla="*/ 83160 h 294587"/>
                <a:gd name="connsiteX6" fmla="*/ 11916 w 200290"/>
                <a:gd name="connsiteY6" fmla="*/ 121590 h 294587"/>
                <a:gd name="connsiteX7" fmla="*/ 0 w 200290"/>
                <a:gd name="connsiteY7" fmla="*/ 181944 h 294587"/>
                <a:gd name="connsiteX8" fmla="*/ 11789 w 200290"/>
                <a:gd name="connsiteY8" fmla="*/ 242424 h 294587"/>
                <a:gd name="connsiteX9" fmla="*/ 44368 w 200290"/>
                <a:gd name="connsiteY9" fmla="*/ 281106 h 294587"/>
                <a:gd name="connsiteX10" fmla="*/ 91652 w 200290"/>
                <a:gd name="connsiteY10" fmla="*/ 294588 h 294587"/>
                <a:gd name="connsiteX11" fmla="*/ 124231 w 200290"/>
                <a:gd name="connsiteY11" fmla="*/ 287910 h 294587"/>
                <a:gd name="connsiteX12" fmla="*/ 144006 w 200290"/>
                <a:gd name="connsiteY12" fmla="*/ 272286 h 294587"/>
                <a:gd name="connsiteX13" fmla="*/ 155035 w 200290"/>
                <a:gd name="connsiteY13" fmla="*/ 256410 h 294587"/>
                <a:gd name="connsiteX14" fmla="*/ 158585 w 200290"/>
                <a:gd name="connsiteY14" fmla="*/ 256410 h 294587"/>
                <a:gd name="connsiteX15" fmla="*/ 158585 w 200290"/>
                <a:gd name="connsiteY15" fmla="*/ 290304 h 294587"/>
                <a:gd name="connsiteX16" fmla="*/ 200290 w 200290"/>
                <a:gd name="connsiteY16" fmla="*/ 290304 h 294587"/>
                <a:gd name="connsiteX17" fmla="*/ 200290 w 200290"/>
                <a:gd name="connsiteY17" fmla="*/ 0 h 294587"/>
                <a:gd name="connsiteX18" fmla="*/ 157570 w 200290"/>
                <a:gd name="connsiteY18" fmla="*/ 0 h 294587"/>
                <a:gd name="connsiteX19" fmla="*/ 157570 w 200290"/>
                <a:gd name="connsiteY19" fmla="*/ 107856 h 294587"/>
                <a:gd name="connsiteX20" fmla="*/ 151612 w 200290"/>
                <a:gd name="connsiteY20" fmla="*/ 221760 h 294587"/>
                <a:gd name="connsiteX21" fmla="*/ 132217 w 200290"/>
                <a:gd name="connsiteY21" fmla="*/ 248724 h 294587"/>
                <a:gd name="connsiteX22" fmla="*/ 101033 w 200290"/>
                <a:gd name="connsiteY22" fmla="*/ 258426 h 294587"/>
                <a:gd name="connsiteX23" fmla="*/ 69214 w 200290"/>
                <a:gd name="connsiteY23" fmla="*/ 248346 h 294587"/>
                <a:gd name="connsiteX24" fmla="*/ 49819 w 200290"/>
                <a:gd name="connsiteY24" fmla="*/ 220752 h 294587"/>
                <a:gd name="connsiteX25" fmla="*/ 43227 w 200290"/>
                <a:gd name="connsiteY25" fmla="*/ 181440 h 294587"/>
                <a:gd name="connsiteX26" fmla="*/ 49693 w 200290"/>
                <a:gd name="connsiteY26" fmla="*/ 142758 h 294587"/>
                <a:gd name="connsiteX27" fmla="*/ 68961 w 200290"/>
                <a:gd name="connsiteY27" fmla="*/ 115668 h 294587"/>
                <a:gd name="connsiteX28" fmla="*/ 101033 w 200290"/>
                <a:gd name="connsiteY28" fmla="*/ 105714 h 294587"/>
                <a:gd name="connsiteX29" fmla="*/ 132471 w 200290"/>
                <a:gd name="connsiteY29" fmla="*/ 115164 h 294587"/>
                <a:gd name="connsiteX30" fmla="*/ 151739 w 200290"/>
                <a:gd name="connsiteY30" fmla="*/ 141624 h 294587"/>
                <a:gd name="connsiteX31" fmla="*/ 158331 w 200290"/>
                <a:gd name="connsiteY31" fmla="*/ 181314 h 294587"/>
                <a:gd name="connsiteX32" fmla="*/ 151612 w 200290"/>
                <a:gd name="connsiteY32" fmla="*/ 221760 h 29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290" h="294587">
                  <a:moveTo>
                    <a:pt x="157444" y="107856"/>
                  </a:moveTo>
                  <a:lnTo>
                    <a:pt x="154908" y="107856"/>
                  </a:lnTo>
                  <a:cubicBezTo>
                    <a:pt x="152373" y="103320"/>
                    <a:pt x="148697" y="98028"/>
                    <a:pt x="144133" y="92106"/>
                  </a:cubicBezTo>
                  <a:cubicBezTo>
                    <a:pt x="139443" y="86184"/>
                    <a:pt x="132978" y="80892"/>
                    <a:pt x="124738" y="76482"/>
                  </a:cubicBezTo>
                  <a:cubicBezTo>
                    <a:pt x="116371" y="71946"/>
                    <a:pt x="105470" y="69804"/>
                    <a:pt x="91905" y="69804"/>
                  </a:cubicBezTo>
                  <a:cubicBezTo>
                    <a:pt x="74285" y="69804"/>
                    <a:pt x="58566" y="74214"/>
                    <a:pt x="44622" y="83160"/>
                  </a:cubicBezTo>
                  <a:cubicBezTo>
                    <a:pt x="30678" y="92106"/>
                    <a:pt x="19775" y="104832"/>
                    <a:pt x="11916" y="121590"/>
                  </a:cubicBezTo>
                  <a:cubicBezTo>
                    <a:pt x="3930" y="138348"/>
                    <a:pt x="0" y="158508"/>
                    <a:pt x="0" y="181944"/>
                  </a:cubicBezTo>
                  <a:cubicBezTo>
                    <a:pt x="0" y="205506"/>
                    <a:pt x="3930" y="225666"/>
                    <a:pt x="11789" y="242424"/>
                  </a:cubicBezTo>
                  <a:cubicBezTo>
                    <a:pt x="19649" y="259182"/>
                    <a:pt x="30424" y="272034"/>
                    <a:pt x="44368" y="281106"/>
                  </a:cubicBezTo>
                  <a:cubicBezTo>
                    <a:pt x="58186" y="290178"/>
                    <a:pt x="73905" y="294588"/>
                    <a:pt x="91652" y="294588"/>
                  </a:cubicBezTo>
                  <a:cubicBezTo>
                    <a:pt x="104962" y="294588"/>
                    <a:pt x="115738" y="292320"/>
                    <a:pt x="124231" y="287910"/>
                  </a:cubicBezTo>
                  <a:cubicBezTo>
                    <a:pt x="132597" y="283500"/>
                    <a:pt x="139189" y="278208"/>
                    <a:pt x="144006" y="272286"/>
                  </a:cubicBezTo>
                  <a:cubicBezTo>
                    <a:pt x="148823" y="266364"/>
                    <a:pt x="152500" y="261072"/>
                    <a:pt x="155035" y="256410"/>
                  </a:cubicBezTo>
                  <a:lnTo>
                    <a:pt x="158585" y="256410"/>
                  </a:lnTo>
                  <a:lnTo>
                    <a:pt x="158585" y="290304"/>
                  </a:lnTo>
                  <a:lnTo>
                    <a:pt x="200290" y="290304"/>
                  </a:lnTo>
                  <a:lnTo>
                    <a:pt x="200290" y="0"/>
                  </a:lnTo>
                  <a:lnTo>
                    <a:pt x="157570" y="0"/>
                  </a:lnTo>
                  <a:lnTo>
                    <a:pt x="157570" y="107856"/>
                  </a:lnTo>
                  <a:close/>
                  <a:moveTo>
                    <a:pt x="151612" y="221760"/>
                  </a:moveTo>
                  <a:cubicBezTo>
                    <a:pt x="147175" y="233226"/>
                    <a:pt x="140711" y="242298"/>
                    <a:pt x="132217" y="248724"/>
                  </a:cubicBezTo>
                  <a:cubicBezTo>
                    <a:pt x="123724" y="255150"/>
                    <a:pt x="113329" y="258426"/>
                    <a:pt x="101033" y="258426"/>
                  </a:cubicBezTo>
                  <a:cubicBezTo>
                    <a:pt x="88356" y="258426"/>
                    <a:pt x="77708" y="255024"/>
                    <a:pt x="69214" y="248346"/>
                  </a:cubicBezTo>
                  <a:cubicBezTo>
                    <a:pt x="60594" y="241542"/>
                    <a:pt x="54129" y="232344"/>
                    <a:pt x="49819" y="220752"/>
                  </a:cubicBezTo>
                  <a:cubicBezTo>
                    <a:pt x="45382" y="209160"/>
                    <a:pt x="43227" y="196056"/>
                    <a:pt x="43227" y="181440"/>
                  </a:cubicBezTo>
                  <a:cubicBezTo>
                    <a:pt x="43227" y="167076"/>
                    <a:pt x="45382" y="154224"/>
                    <a:pt x="49693" y="142758"/>
                  </a:cubicBezTo>
                  <a:cubicBezTo>
                    <a:pt x="54003" y="131292"/>
                    <a:pt x="60467" y="122346"/>
                    <a:pt x="68961" y="115668"/>
                  </a:cubicBezTo>
                  <a:cubicBezTo>
                    <a:pt x="77454" y="108990"/>
                    <a:pt x="88229" y="105714"/>
                    <a:pt x="101033" y="105714"/>
                  </a:cubicBezTo>
                  <a:cubicBezTo>
                    <a:pt x="113456" y="105714"/>
                    <a:pt x="123977" y="108864"/>
                    <a:pt x="132471" y="115164"/>
                  </a:cubicBezTo>
                  <a:cubicBezTo>
                    <a:pt x="140964" y="121464"/>
                    <a:pt x="147302" y="130284"/>
                    <a:pt x="151739" y="141624"/>
                  </a:cubicBezTo>
                  <a:cubicBezTo>
                    <a:pt x="156049" y="152964"/>
                    <a:pt x="158331" y="166194"/>
                    <a:pt x="158331" y="181314"/>
                  </a:cubicBezTo>
                  <a:cubicBezTo>
                    <a:pt x="158204" y="196812"/>
                    <a:pt x="156049" y="210168"/>
                    <a:pt x="151612" y="22176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5" name="Freihandform 41">
              <a:extLst>
                <a:ext uri="{FF2B5EF4-FFF2-40B4-BE49-F238E27FC236}">
                  <a16:creationId xmlns:a16="http://schemas.microsoft.com/office/drawing/2014/main" id="{874300A1-6EF5-45E8-A8F2-13B9427E8203}"/>
                </a:ext>
              </a:extLst>
            </p:cNvPr>
            <p:cNvSpPr/>
            <p:nvPr/>
          </p:nvSpPr>
          <p:spPr bwMode="invGray">
            <a:xfrm>
              <a:off x="1364393" y="502108"/>
              <a:ext cx="12473" cy="12370"/>
            </a:xfrm>
            <a:custGeom>
              <a:avLst/>
              <a:gdLst>
                <a:gd name="connsiteX0" fmla="*/ 28395 w 57044"/>
                <a:gd name="connsiteY0" fmla="*/ 0 h 56573"/>
                <a:gd name="connsiteX1" fmla="*/ 8367 w 57044"/>
                <a:gd name="connsiteY1" fmla="*/ 8316 h 56573"/>
                <a:gd name="connsiteX2" fmla="*/ 0 w 57044"/>
                <a:gd name="connsiteY2" fmla="*/ 28224 h 56573"/>
                <a:gd name="connsiteX3" fmla="*/ 8367 w 57044"/>
                <a:gd name="connsiteY3" fmla="*/ 48258 h 56573"/>
                <a:gd name="connsiteX4" fmla="*/ 28395 w 57044"/>
                <a:gd name="connsiteY4" fmla="*/ 56574 h 56573"/>
                <a:gd name="connsiteX5" fmla="*/ 42720 w 57044"/>
                <a:gd name="connsiteY5" fmla="*/ 52794 h 56573"/>
                <a:gd name="connsiteX6" fmla="*/ 53115 w 57044"/>
                <a:gd name="connsiteY6" fmla="*/ 42462 h 56573"/>
                <a:gd name="connsiteX7" fmla="*/ 57045 w 57044"/>
                <a:gd name="connsiteY7" fmla="*/ 28224 h 56573"/>
                <a:gd name="connsiteX8" fmla="*/ 48678 w 57044"/>
                <a:gd name="connsiteY8" fmla="*/ 8316 h 56573"/>
                <a:gd name="connsiteX9" fmla="*/ 28395 w 57044"/>
                <a:gd name="connsiteY9" fmla="*/ 0 h 5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44" h="56573">
                  <a:moveTo>
                    <a:pt x="28395" y="0"/>
                  </a:moveTo>
                  <a:cubicBezTo>
                    <a:pt x="20663" y="0"/>
                    <a:pt x="13944" y="2772"/>
                    <a:pt x="8367" y="8316"/>
                  </a:cubicBezTo>
                  <a:cubicBezTo>
                    <a:pt x="2789" y="13860"/>
                    <a:pt x="0" y="20538"/>
                    <a:pt x="0" y="28224"/>
                  </a:cubicBezTo>
                  <a:cubicBezTo>
                    <a:pt x="0" y="36036"/>
                    <a:pt x="2789" y="42714"/>
                    <a:pt x="8367" y="48258"/>
                  </a:cubicBezTo>
                  <a:cubicBezTo>
                    <a:pt x="13944" y="53802"/>
                    <a:pt x="20663" y="56574"/>
                    <a:pt x="28395" y="56574"/>
                  </a:cubicBezTo>
                  <a:cubicBezTo>
                    <a:pt x="33593" y="56574"/>
                    <a:pt x="38410" y="55314"/>
                    <a:pt x="42720" y="52794"/>
                  </a:cubicBezTo>
                  <a:cubicBezTo>
                    <a:pt x="47030" y="50274"/>
                    <a:pt x="50453" y="46872"/>
                    <a:pt x="53115" y="42462"/>
                  </a:cubicBezTo>
                  <a:cubicBezTo>
                    <a:pt x="55777" y="38178"/>
                    <a:pt x="57045" y="33390"/>
                    <a:pt x="57045" y="28224"/>
                  </a:cubicBezTo>
                  <a:cubicBezTo>
                    <a:pt x="57045" y="20412"/>
                    <a:pt x="54256" y="13860"/>
                    <a:pt x="48678" y="8316"/>
                  </a:cubicBezTo>
                  <a:cubicBezTo>
                    <a:pt x="42847" y="2772"/>
                    <a:pt x="36128" y="0"/>
                    <a:pt x="28395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  <p:sp>
        <p:nvSpPr>
          <p:cNvPr id="11" name="Titel 10">
            <a:extLst>
              <a:ext uri="{FF2B5EF4-FFF2-40B4-BE49-F238E27FC236}">
                <a16:creationId xmlns:a16="http://schemas.microsoft.com/office/drawing/2014/main" id="{A61DA797-8454-4364-8770-8101AFDD41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4032000" cy="1883593"/>
          </a:xfrm>
        </p:spPr>
        <p:txBody>
          <a:bodyPr vert="horz" anchor="b"/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US"/>
              <a:t>Titl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FEAEEB5-CEA6-41B3-AE59-98285007A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3525" y="4357103"/>
            <a:ext cx="4032000" cy="246221"/>
          </a:xfrm>
        </p:spPr>
        <p:txBody>
          <a:bodyPr>
            <a:no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line optional Inter Medium 16pt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80E2349F-1508-4D41-A46E-B4E8D0F7F0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3525" y="5688568"/>
            <a:ext cx="4032000" cy="369332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uthor, </a:t>
            </a:r>
            <a:br>
              <a:rPr lang="en-US"/>
            </a:br>
            <a:r>
              <a:rPr lang="en-US"/>
              <a:t>Place, Date Inter 12pt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18F3B326-7E40-4C04-9D7A-2BDF39C7402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111875" cy="6858000"/>
          </a:xfrm>
          <a:solidFill>
            <a:schemeClr val="accent4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Please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6507770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white - 2 columns &amp; patter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7436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CF7D173B-4D49-4B2F-A470-A04AACB0FE96}"/>
              </a:ext>
            </a:extLst>
          </p:cNvPr>
          <p:cNvSpPr>
            <a:spLocks/>
          </p:cNvSpPr>
          <p:nvPr/>
        </p:nvSpPr>
        <p:spPr>
          <a:xfrm>
            <a:off x="8088000" y="0"/>
            <a:ext cx="410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7669213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7669213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7669213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76BBEB8-9136-4964-AFD7-C8F311FB46AE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13D6006C-EB36-413E-82E4-E7968928515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59263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E00F170F-5283-46F8-9471-AD2C1776A48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0111" r="1"/>
          <a:stretch/>
        </p:blipFill>
        <p:spPr>
          <a:xfrm>
            <a:off x="8084825" y="0"/>
            <a:ext cx="4107175" cy="6858000"/>
          </a:xfrm>
          <a:prstGeom prst="rect">
            <a:avLst/>
          </a:prstGeom>
        </p:spPr>
      </p:pic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B6F83871-5B24-408E-997E-D1F49EB8E2B3}" type="datetime4">
              <a:rPr lang="en-US" smtClean="0"/>
              <a:t>July 4, 2024</a:t>
            </a:fld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148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white - 2 columns &amp; patter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790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7668634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7668634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7668000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0CFC00-8CDA-443B-BF45-C2A1AE2E1C0F}"/>
              </a:ext>
            </a:extLst>
          </p:cNvPr>
          <p:cNvSpPr>
            <a:spLocks/>
          </p:cNvSpPr>
          <p:nvPr/>
        </p:nvSpPr>
        <p:spPr>
          <a:xfrm>
            <a:off x="9156698" y="0"/>
            <a:ext cx="3035302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754AE76-E44D-4BDB-B56D-4E84F5301E05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8"/>
            <a:ext cx="3671888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6E6F7972-255E-4F1F-BDCF-CBD81B2AEB92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59263" y="1449388"/>
            <a:ext cx="36720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D44EC2A9-9A8F-4864-8FFB-F38AFCEF6CF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5778"/>
          <a:stretch/>
        </p:blipFill>
        <p:spPr>
          <a:xfrm>
            <a:off x="9159250" y="0"/>
            <a:ext cx="3032750" cy="6858000"/>
          </a:xfrm>
          <a:prstGeom prst="rect">
            <a:avLst/>
          </a:prstGeom>
        </p:spPr>
      </p:pic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9CA33A1B-6161-4E20-A8EF-D1295DCAFB2D}" type="datetime4">
              <a:rPr lang="en-US" smtClean="0"/>
              <a:t>July 4, 2024</a:t>
            </a:fld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545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white -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658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CF7D173B-4D49-4B2F-A470-A04AACB0FE96}"/>
              </a:ext>
            </a:extLst>
          </p:cNvPr>
          <p:cNvSpPr>
            <a:spLocks/>
          </p:cNvSpPr>
          <p:nvPr/>
        </p:nvSpPr>
        <p:spPr>
          <a:xfrm>
            <a:off x="8088000" y="0"/>
            <a:ext cx="410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7258B2BD-D15E-4AB6-BCD4-4AB908E0990A}"/>
              </a:ext>
            </a:extLst>
          </p:cNvPr>
          <p:cNvSpPr/>
          <p:nvPr/>
        </p:nvSpPr>
        <p:spPr bwMode="gray">
          <a:xfrm>
            <a:off x="8735618" y="-3475"/>
            <a:ext cx="3456382" cy="6861519"/>
          </a:xfrm>
          <a:custGeom>
            <a:avLst/>
            <a:gdLst>
              <a:gd name="connsiteX0" fmla="*/ 2229661 w 3456382"/>
              <a:gd name="connsiteY0" fmla="*/ 2733772 h 6861519"/>
              <a:gd name="connsiteX1" fmla="*/ 2917201 w 3456382"/>
              <a:gd name="connsiteY1" fmla="*/ 2733772 h 6861519"/>
              <a:gd name="connsiteX2" fmla="*/ 2917201 w 3456382"/>
              <a:gd name="connsiteY2" fmla="*/ 6861519 h 6861519"/>
              <a:gd name="connsiteX3" fmla="*/ 2229661 w 3456382"/>
              <a:gd name="connsiteY3" fmla="*/ 6861519 h 6861519"/>
              <a:gd name="connsiteX4" fmla="*/ 858387 w 3456382"/>
              <a:gd name="connsiteY4" fmla="*/ 2396618 h 6861519"/>
              <a:gd name="connsiteX5" fmla="*/ 1621902 w 3456382"/>
              <a:gd name="connsiteY5" fmla="*/ 2396618 h 6861519"/>
              <a:gd name="connsiteX6" fmla="*/ 763861 w 3456382"/>
              <a:gd name="connsiteY6" fmla="*/ 4112008 h 6861519"/>
              <a:gd name="connsiteX7" fmla="*/ 0 w 3456382"/>
              <a:gd name="connsiteY7" fmla="*/ 4112008 h 6861519"/>
              <a:gd name="connsiteX8" fmla="*/ 2056349 w 3456382"/>
              <a:gd name="connsiteY8" fmla="*/ 0 h 6861519"/>
              <a:gd name="connsiteX9" fmla="*/ 3090470 w 3456382"/>
              <a:gd name="connsiteY9" fmla="*/ 0 h 6861519"/>
              <a:gd name="connsiteX10" fmla="*/ 3456382 w 3456382"/>
              <a:gd name="connsiteY10" fmla="*/ 732132 h 6861519"/>
              <a:gd name="connsiteX11" fmla="*/ 3456382 w 3456382"/>
              <a:gd name="connsiteY11" fmla="*/ 2260386 h 6861519"/>
              <a:gd name="connsiteX12" fmla="*/ 2573431 w 3456382"/>
              <a:gd name="connsiteY12" fmla="*/ 494294 h 6861519"/>
              <a:gd name="connsiteX13" fmla="*/ 2135481 w 3456382"/>
              <a:gd name="connsiteY13" fmla="*/ 1369502 h 6861519"/>
              <a:gd name="connsiteX14" fmla="*/ 1371620 w 3456382"/>
              <a:gd name="connsiteY14" fmla="*/ 1369502 h 6861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456382" h="6861519">
                <a:moveTo>
                  <a:pt x="2229661" y="2733772"/>
                </a:moveTo>
                <a:lnTo>
                  <a:pt x="2917201" y="2733772"/>
                </a:lnTo>
                <a:lnTo>
                  <a:pt x="2917201" y="6861519"/>
                </a:lnTo>
                <a:lnTo>
                  <a:pt x="2229661" y="6861519"/>
                </a:lnTo>
                <a:close/>
                <a:moveTo>
                  <a:pt x="858387" y="2396618"/>
                </a:moveTo>
                <a:lnTo>
                  <a:pt x="1621902" y="2396618"/>
                </a:lnTo>
                <a:lnTo>
                  <a:pt x="763861" y="4112008"/>
                </a:lnTo>
                <a:lnTo>
                  <a:pt x="0" y="4112008"/>
                </a:lnTo>
                <a:close/>
                <a:moveTo>
                  <a:pt x="2056349" y="0"/>
                </a:moveTo>
                <a:lnTo>
                  <a:pt x="3090470" y="0"/>
                </a:lnTo>
                <a:lnTo>
                  <a:pt x="3456382" y="732132"/>
                </a:lnTo>
                <a:lnTo>
                  <a:pt x="3456382" y="2260386"/>
                </a:lnTo>
                <a:lnTo>
                  <a:pt x="2573431" y="494294"/>
                </a:lnTo>
                <a:lnTo>
                  <a:pt x="2135481" y="1369502"/>
                </a:lnTo>
                <a:lnTo>
                  <a:pt x="1371620" y="1369502"/>
                </a:lnTo>
                <a:close/>
              </a:path>
            </a:pathLst>
          </a:custGeom>
          <a:gradFill>
            <a:gsLst>
              <a:gs pos="1000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7668634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7668634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7669213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A3131BC-FE7D-4A33-BCA2-915912692E14}" type="datetime4">
              <a:rPr lang="en-US" smtClean="0"/>
              <a:t>July 4, 2024</a:t>
            </a:fld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AFB5618-E9E5-4E49-B1E3-45D3FC9B4A0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B7C348BD-FDFC-4C3B-89DE-8FD4B5865EE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59263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3660605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white - arrow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7808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7668634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7668634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7668000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0CFC00-8CDA-443B-BF45-C2A1AE2E1C0F}"/>
              </a:ext>
            </a:extLst>
          </p:cNvPr>
          <p:cNvSpPr>
            <a:spLocks/>
          </p:cNvSpPr>
          <p:nvPr/>
        </p:nvSpPr>
        <p:spPr>
          <a:xfrm>
            <a:off x="9156698" y="0"/>
            <a:ext cx="3035302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02E805C6-E84D-4A07-888B-9FB9BFDEACD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156700" y="0"/>
            <a:ext cx="3035300" cy="3429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FBBEE1D7-855C-42E2-824D-C2F5CC4DB569}"/>
              </a:ext>
            </a:extLst>
          </p:cNvPr>
          <p:cNvSpPr>
            <a:spLocks/>
          </p:cNvSpPr>
          <p:nvPr/>
        </p:nvSpPr>
        <p:spPr bwMode="gray">
          <a:xfrm>
            <a:off x="9794834" y="3970817"/>
            <a:ext cx="1759033" cy="2345367"/>
          </a:xfrm>
          <a:custGeom>
            <a:avLst/>
            <a:gdLst>
              <a:gd name="connsiteX0" fmla="*/ -1070 w 119009"/>
              <a:gd name="connsiteY0" fmla="*/ 95094 h 158678"/>
              <a:gd name="connsiteX1" fmla="*/ 16595 w 119009"/>
              <a:gd name="connsiteY1" fmla="*/ 95094 h 158678"/>
              <a:gd name="connsiteX2" fmla="*/ 36438 w 119009"/>
              <a:gd name="connsiteY2" fmla="*/ 55424 h 158678"/>
              <a:gd name="connsiteX3" fmla="*/ 18781 w 119009"/>
              <a:gd name="connsiteY3" fmla="*/ 55424 h 158678"/>
              <a:gd name="connsiteX4" fmla="*/ 70400 w 119009"/>
              <a:gd name="connsiteY4" fmla="*/ 0 h 158678"/>
              <a:gd name="connsiteX5" fmla="*/ 46485 w 119009"/>
              <a:gd name="connsiteY5" fmla="*/ 0 h 158678"/>
              <a:gd name="connsiteX6" fmla="*/ 30650 w 119009"/>
              <a:gd name="connsiteY6" fmla="*/ 31671 h 158678"/>
              <a:gd name="connsiteX7" fmla="*/ 48315 w 119009"/>
              <a:gd name="connsiteY7" fmla="*/ 31671 h 158678"/>
              <a:gd name="connsiteX8" fmla="*/ 58443 w 119009"/>
              <a:gd name="connsiteY8" fmla="*/ 11431 h 158678"/>
              <a:gd name="connsiteX9" fmla="*/ 100282 w 119009"/>
              <a:gd name="connsiteY9" fmla="*/ 95118 h 158678"/>
              <a:gd name="connsiteX10" fmla="*/ 117939 w 119009"/>
              <a:gd name="connsiteY10" fmla="*/ 95118 h 158678"/>
              <a:gd name="connsiteX11" fmla="*/ 50493 w 119009"/>
              <a:gd name="connsiteY11" fmla="*/ 63221 h 158678"/>
              <a:gd name="connsiteX12" fmla="*/ 66393 w 119009"/>
              <a:gd name="connsiteY12" fmla="*/ 63221 h 158678"/>
              <a:gd name="connsiteX13" fmla="*/ 66393 w 119009"/>
              <a:gd name="connsiteY13" fmla="*/ 158679 h 158678"/>
              <a:gd name="connsiteX14" fmla="*/ 50493 w 119009"/>
              <a:gd name="connsiteY14" fmla="*/ 158679 h 158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9009" h="158678">
                <a:moveTo>
                  <a:pt x="-1070" y="95094"/>
                </a:moveTo>
                <a:lnTo>
                  <a:pt x="16595" y="95094"/>
                </a:lnTo>
                <a:lnTo>
                  <a:pt x="36438" y="55424"/>
                </a:lnTo>
                <a:lnTo>
                  <a:pt x="18781" y="55424"/>
                </a:lnTo>
                <a:close/>
                <a:moveTo>
                  <a:pt x="70400" y="0"/>
                </a:moveTo>
                <a:lnTo>
                  <a:pt x="46485" y="0"/>
                </a:lnTo>
                <a:lnTo>
                  <a:pt x="30650" y="31671"/>
                </a:lnTo>
                <a:lnTo>
                  <a:pt x="48315" y="31671"/>
                </a:lnTo>
                <a:lnTo>
                  <a:pt x="58443" y="11431"/>
                </a:lnTo>
                <a:lnTo>
                  <a:pt x="100282" y="95118"/>
                </a:lnTo>
                <a:lnTo>
                  <a:pt x="117939" y="95118"/>
                </a:lnTo>
                <a:close/>
                <a:moveTo>
                  <a:pt x="50493" y="63221"/>
                </a:moveTo>
                <a:lnTo>
                  <a:pt x="66393" y="63221"/>
                </a:lnTo>
                <a:lnTo>
                  <a:pt x="66393" y="158679"/>
                </a:lnTo>
                <a:lnTo>
                  <a:pt x="50493" y="158679"/>
                </a:lnTo>
                <a:close/>
              </a:path>
            </a:pathLst>
          </a:custGeom>
          <a:gradFill>
            <a:gsLst>
              <a:gs pos="1000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4F47A452-1FAC-4790-9D74-1F01A3DDD2F4}" type="datetime4">
              <a:rPr lang="en-US" smtClean="0"/>
              <a:t>July 4, 2024</a:t>
            </a:fld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F47762F-19CC-4D61-998C-18AA8D80B449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263525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250C7F3C-6233-46AB-90D6-55147795146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259263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346484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white - 3 columns &amp; 2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291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11664950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11664950" cy="307777"/>
          </a:xfrm>
        </p:spPr>
        <p:txBody>
          <a:bodyPr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11664950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6BDA09D8-382C-4EAD-B844-6AF6B02CF51E}" type="datetime4">
              <a:rPr lang="en-US" smtClean="0"/>
              <a:t>July 4, 2024</a:t>
            </a:fld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0A05889-6E4F-42E6-ACBC-C81C06105177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263525" y="1449388"/>
            <a:ext cx="3671888" cy="2088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marL="895350" indent="-179388" defTabSz="808038"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BA2009F8-231F-4A0F-ADDC-7EDBDAA459FF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259263" y="1449386"/>
            <a:ext cx="3671887" cy="2088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696ACA37-06DB-4106-9D64-1CA98A588E41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8255000" y="1449387"/>
            <a:ext cx="3673475" cy="2088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1BA55846-8CAC-49BD-8143-FA6B69F8767F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263525" y="3861948"/>
            <a:ext cx="3673475" cy="2088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24" name="Inhaltsplatzhalter 23">
            <a:extLst>
              <a:ext uri="{FF2B5EF4-FFF2-40B4-BE49-F238E27FC236}">
                <a16:creationId xmlns:a16="http://schemas.microsoft.com/office/drawing/2014/main" id="{2EDA8475-E04B-4B64-B4D1-4F5E765A16D6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4259263" y="3861948"/>
            <a:ext cx="3673475" cy="2088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34DE9313-5FC6-4736-A450-A8B7D37DFAD2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8256588" y="3861948"/>
            <a:ext cx="3671887" cy="2088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1522956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white - patter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0840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AF1A5936-F8DE-4713-8273-589D0015C74A}"/>
              </a:ext>
            </a:extLst>
          </p:cNvPr>
          <p:cNvSpPr>
            <a:spLocks/>
          </p:cNvSpPr>
          <p:nvPr/>
        </p:nvSpPr>
        <p:spPr>
          <a:xfrm>
            <a:off x="0" y="0"/>
            <a:ext cx="410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9263" y="229880"/>
            <a:ext cx="7669212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59263" y="683089"/>
            <a:ext cx="7669212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9263" y="6076176"/>
            <a:ext cx="7669212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A8AB91DE-7750-4A8C-8271-D8E5ED5D5BF4}" type="datetime4">
              <a:rPr lang="en-US" smtClean="0"/>
              <a:t>July 4, 2024</a:t>
            </a:fld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66C6F6E-3D67-4796-8249-6923FB4D5C6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259842" y="1449388"/>
            <a:ext cx="7669212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pic>
        <p:nvPicPr>
          <p:cNvPr id="18" name="Grafik 17" descr="Ein Bild, das drinnen, Outdoorobjekt, Spinnennetz enthält.&#10;&#10;Automatisch generierte Beschreibung">
            <a:extLst>
              <a:ext uri="{FF2B5EF4-FFF2-40B4-BE49-F238E27FC236}">
                <a16:creationId xmlns:a16="http://schemas.microsoft.com/office/drawing/2014/main" id="{0989CB71-08CE-47D2-B781-E7E59E455ED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4358" t="-253"/>
          <a:stretch/>
        </p:blipFill>
        <p:spPr>
          <a:xfrm flipH="1">
            <a:off x="0" y="590018"/>
            <a:ext cx="4104000" cy="6267982"/>
          </a:xfrm>
          <a:prstGeom prst="rect">
            <a:avLst/>
          </a:prstGeom>
        </p:spPr>
      </p:pic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white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41DACF8-2F5B-4975-913A-04450B47F539}"/>
              </a:ext>
            </a:extLst>
          </p:cNvPr>
          <p:cNvGrpSpPr/>
          <p:nvPr/>
        </p:nvGrpSpPr>
        <p:grpSpPr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D2D681CA-BED4-4597-8D5A-D9F9768C7948}"/>
                </a:ext>
              </a:extLst>
            </p:cNvPr>
            <p:cNvSpPr/>
            <p:nvPr/>
          </p:nvSpPr>
          <p:spPr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F444AD01-F00D-4CE7-BB97-231D06B1F329}"/>
                </a:ext>
              </a:extLst>
            </p:cNvPr>
            <p:cNvSpPr/>
            <p:nvPr/>
          </p:nvSpPr>
          <p:spPr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25F523D8-34BB-4127-8767-16CEC3D550AB}"/>
                </a:ext>
              </a:extLst>
            </p:cNvPr>
            <p:cNvSpPr/>
            <p:nvPr/>
          </p:nvSpPr>
          <p:spPr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602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4" pos="2683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white - arrow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059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AF1A5936-F8DE-4713-8273-589D0015C74A}"/>
              </a:ext>
            </a:extLst>
          </p:cNvPr>
          <p:cNvSpPr>
            <a:spLocks/>
          </p:cNvSpPr>
          <p:nvPr/>
        </p:nvSpPr>
        <p:spPr>
          <a:xfrm>
            <a:off x="0" y="0"/>
            <a:ext cx="410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CE19D339-24A5-4AFB-8A0D-01FC286BBA93}"/>
              </a:ext>
            </a:extLst>
          </p:cNvPr>
          <p:cNvSpPr>
            <a:spLocks/>
          </p:cNvSpPr>
          <p:nvPr/>
        </p:nvSpPr>
        <p:spPr bwMode="gray">
          <a:xfrm>
            <a:off x="647618" y="-3475"/>
            <a:ext cx="3456382" cy="6861519"/>
          </a:xfrm>
          <a:custGeom>
            <a:avLst/>
            <a:gdLst>
              <a:gd name="connsiteX0" fmla="*/ 2229661 w 3456382"/>
              <a:gd name="connsiteY0" fmla="*/ 2733772 h 6861519"/>
              <a:gd name="connsiteX1" fmla="*/ 2917201 w 3456382"/>
              <a:gd name="connsiteY1" fmla="*/ 2733772 h 6861519"/>
              <a:gd name="connsiteX2" fmla="*/ 2917201 w 3456382"/>
              <a:gd name="connsiteY2" fmla="*/ 6861519 h 6861519"/>
              <a:gd name="connsiteX3" fmla="*/ 2229661 w 3456382"/>
              <a:gd name="connsiteY3" fmla="*/ 6861519 h 6861519"/>
              <a:gd name="connsiteX4" fmla="*/ 858387 w 3456382"/>
              <a:gd name="connsiteY4" fmla="*/ 2396618 h 6861519"/>
              <a:gd name="connsiteX5" fmla="*/ 1621902 w 3456382"/>
              <a:gd name="connsiteY5" fmla="*/ 2396618 h 6861519"/>
              <a:gd name="connsiteX6" fmla="*/ 763861 w 3456382"/>
              <a:gd name="connsiteY6" fmla="*/ 4112008 h 6861519"/>
              <a:gd name="connsiteX7" fmla="*/ 0 w 3456382"/>
              <a:gd name="connsiteY7" fmla="*/ 4112008 h 6861519"/>
              <a:gd name="connsiteX8" fmla="*/ 2056349 w 3456382"/>
              <a:gd name="connsiteY8" fmla="*/ 0 h 6861519"/>
              <a:gd name="connsiteX9" fmla="*/ 3090470 w 3456382"/>
              <a:gd name="connsiteY9" fmla="*/ 0 h 6861519"/>
              <a:gd name="connsiteX10" fmla="*/ 3456382 w 3456382"/>
              <a:gd name="connsiteY10" fmla="*/ 732132 h 6861519"/>
              <a:gd name="connsiteX11" fmla="*/ 3456382 w 3456382"/>
              <a:gd name="connsiteY11" fmla="*/ 2260386 h 6861519"/>
              <a:gd name="connsiteX12" fmla="*/ 2573431 w 3456382"/>
              <a:gd name="connsiteY12" fmla="*/ 494294 h 6861519"/>
              <a:gd name="connsiteX13" fmla="*/ 2135481 w 3456382"/>
              <a:gd name="connsiteY13" fmla="*/ 1369502 h 6861519"/>
              <a:gd name="connsiteX14" fmla="*/ 1371620 w 3456382"/>
              <a:gd name="connsiteY14" fmla="*/ 1369502 h 6861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456382" h="6861519">
                <a:moveTo>
                  <a:pt x="2229661" y="2733772"/>
                </a:moveTo>
                <a:lnTo>
                  <a:pt x="2917201" y="2733772"/>
                </a:lnTo>
                <a:lnTo>
                  <a:pt x="2917201" y="6861519"/>
                </a:lnTo>
                <a:lnTo>
                  <a:pt x="2229661" y="6861519"/>
                </a:lnTo>
                <a:close/>
                <a:moveTo>
                  <a:pt x="858387" y="2396618"/>
                </a:moveTo>
                <a:lnTo>
                  <a:pt x="1621902" y="2396618"/>
                </a:lnTo>
                <a:lnTo>
                  <a:pt x="763861" y="4112008"/>
                </a:lnTo>
                <a:lnTo>
                  <a:pt x="0" y="4112008"/>
                </a:lnTo>
                <a:close/>
                <a:moveTo>
                  <a:pt x="2056349" y="0"/>
                </a:moveTo>
                <a:lnTo>
                  <a:pt x="3090470" y="0"/>
                </a:lnTo>
                <a:lnTo>
                  <a:pt x="3456382" y="732132"/>
                </a:lnTo>
                <a:lnTo>
                  <a:pt x="3456382" y="2260386"/>
                </a:lnTo>
                <a:lnTo>
                  <a:pt x="2573431" y="494294"/>
                </a:lnTo>
                <a:lnTo>
                  <a:pt x="2135481" y="1369502"/>
                </a:lnTo>
                <a:lnTo>
                  <a:pt x="1371620" y="1369502"/>
                </a:lnTo>
                <a:close/>
              </a:path>
            </a:pathLst>
          </a:custGeom>
          <a:gradFill>
            <a:gsLst>
              <a:gs pos="1000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9263" y="229880"/>
            <a:ext cx="7669212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59263" y="683089"/>
            <a:ext cx="7669212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9263" y="6076176"/>
            <a:ext cx="7669212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F3E2BE35-9059-4C15-A170-F80EE7D3D4F5}" type="datetime4">
              <a:rPr lang="en-US" smtClean="0"/>
              <a:t>July 4, 2024</a:t>
            </a:fld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white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41DACF8-2F5B-4975-913A-04450B47F539}"/>
              </a:ext>
            </a:extLst>
          </p:cNvPr>
          <p:cNvGrpSpPr/>
          <p:nvPr/>
        </p:nvGrpSpPr>
        <p:grpSpPr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D2D681CA-BED4-4597-8D5A-D9F9768C7948}"/>
                </a:ext>
              </a:extLst>
            </p:cNvPr>
            <p:cNvSpPr/>
            <p:nvPr/>
          </p:nvSpPr>
          <p:spPr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F444AD01-F00D-4CE7-BB97-231D06B1F329}"/>
                </a:ext>
              </a:extLst>
            </p:cNvPr>
            <p:cNvSpPr/>
            <p:nvPr/>
          </p:nvSpPr>
          <p:spPr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25F523D8-34BB-4127-8767-16CEC3D550AB}"/>
                </a:ext>
              </a:extLst>
            </p:cNvPr>
            <p:cNvSpPr/>
            <p:nvPr/>
          </p:nvSpPr>
          <p:spPr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A4DB5C8-1242-4218-B406-524CDEEE870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259842" y="1449388"/>
            <a:ext cx="7669212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23696292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4" pos="2683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- white -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4755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39ECB866-6BC4-476E-A243-AAEEEE98FD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4103688" cy="6858000"/>
          </a:xfrm>
          <a:custGeom>
            <a:avLst/>
            <a:gdLst>
              <a:gd name="connsiteX0" fmla="*/ 644822 w 4103688"/>
              <a:gd name="connsiteY0" fmla="*/ 6525737 h 6858000"/>
              <a:gd name="connsiteX1" fmla="*/ 620244 w 4103688"/>
              <a:gd name="connsiteY1" fmla="*/ 6574870 h 6858000"/>
              <a:gd name="connsiteX2" fmla="*/ 647589 w 4103688"/>
              <a:gd name="connsiteY2" fmla="*/ 6574870 h 6858000"/>
              <a:gd name="connsiteX3" fmla="*/ 663359 w 4103688"/>
              <a:gd name="connsiteY3" fmla="*/ 6543410 h 6858000"/>
              <a:gd name="connsiteX4" fmla="*/ 728153 w 4103688"/>
              <a:gd name="connsiteY4" fmla="*/ 6673136 h 6858000"/>
              <a:gd name="connsiteX5" fmla="*/ 755498 w 4103688"/>
              <a:gd name="connsiteY5" fmla="*/ 6673136 h 6858000"/>
              <a:gd name="connsiteX6" fmla="*/ 681699 w 4103688"/>
              <a:gd name="connsiteY6" fmla="*/ 6525737 h 6858000"/>
              <a:gd name="connsiteX7" fmla="*/ 448200 w 4103688"/>
              <a:gd name="connsiteY7" fmla="*/ 6525716 h 6858000"/>
              <a:gd name="connsiteX8" fmla="*/ 448200 w 4103688"/>
              <a:gd name="connsiteY8" fmla="*/ 6574871 h 6858000"/>
              <a:gd name="connsiteX9" fmla="*/ 472778 w 4103688"/>
              <a:gd name="connsiteY9" fmla="*/ 6574871 h 6858000"/>
              <a:gd name="connsiteX10" fmla="*/ 472778 w 4103688"/>
              <a:gd name="connsiteY10" fmla="*/ 6550305 h 6858000"/>
              <a:gd name="connsiteX11" fmla="*/ 558811 w 4103688"/>
              <a:gd name="connsiteY11" fmla="*/ 6550305 h 6858000"/>
              <a:gd name="connsiteX12" fmla="*/ 558811 w 4103688"/>
              <a:gd name="connsiteY12" fmla="*/ 6525738 h 6858000"/>
              <a:gd name="connsiteX13" fmla="*/ 343191 w 4103688"/>
              <a:gd name="connsiteY13" fmla="*/ 6525716 h 6858000"/>
              <a:gd name="connsiteX14" fmla="*/ 269875 w 4103688"/>
              <a:gd name="connsiteY14" fmla="*/ 6599460 h 6858000"/>
              <a:gd name="connsiteX15" fmla="*/ 343191 w 4103688"/>
              <a:gd name="connsiteY15" fmla="*/ 6673137 h 6858000"/>
              <a:gd name="connsiteX16" fmla="*/ 411345 w 4103688"/>
              <a:gd name="connsiteY16" fmla="*/ 6673137 h 6858000"/>
              <a:gd name="connsiteX17" fmla="*/ 411345 w 4103688"/>
              <a:gd name="connsiteY17" fmla="*/ 6611710 h 6858000"/>
              <a:gd name="connsiteX18" fmla="*/ 448201 w 4103688"/>
              <a:gd name="connsiteY18" fmla="*/ 6611710 h 6858000"/>
              <a:gd name="connsiteX19" fmla="*/ 448201 w 4103688"/>
              <a:gd name="connsiteY19" fmla="*/ 6673115 h 6858000"/>
              <a:gd name="connsiteX20" fmla="*/ 546511 w 4103688"/>
              <a:gd name="connsiteY20" fmla="*/ 6673115 h 6858000"/>
              <a:gd name="connsiteX21" fmla="*/ 558789 w 4103688"/>
              <a:gd name="connsiteY21" fmla="*/ 6648549 h 6858000"/>
              <a:gd name="connsiteX22" fmla="*/ 472778 w 4103688"/>
              <a:gd name="connsiteY22" fmla="*/ 6648549 h 6858000"/>
              <a:gd name="connsiteX23" fmla="*/ 472778 w 4103688"/>
              <a:gd name="connsiteY23" fmla="*/ 6611710 h 6858000"/>
              <a:gd name="connsiteX24" fmla="*/ 601663 w 4103688"/>
              <a:gd name="connsiteY24" fmla="*/ 6611710 h 6858000"/>
              <a:gd name="connsiteX25" fmla="*/ 571089 w 4103688"/>
              <a:gd name="connsiteY25" fmla="*/ 6673115 h 6858000"/>
              <a:gd name="connsiteX26" fmla="*/ 598412 w 4103688"/>
              <a:gd name="connsiteY26" fmla="*/ 6673115 h 6858000"/>
              <a:gd name="connsiteX27" fmla="*/ 629140 w 4103688"/>
              <a:gd name="connsiteY27" fmla="*/ 6611710 h 6858000"/>
              <a:gd name="connsiteX28" fmla="*/ 681678 w 4103688"/>
              <a:gd name="connsiteY28" fmla="*/ 6611710 h 6858000"/>
              <a:gd name="connsiteX29" fmla="*/ 669400 w 4103688"/>
              <a:gd name="connsiteY29" fmla="*/ 6587165 h 6858000"/>
              <a:gd name="connsiteX30" fmla="*/ 349890 w 4103688"/>
              <a:gd name="connsiteY30" fmla="*/ 6587143 h 6858000"/>
              <a:gd name="connsiteX31" fmla="*/ 337612 w 4103688"/>
              <a:gd name="connsiteY31" fmla="*/ 6611710 h 6858000"/>
              <a:gd name="connsiteX32" fmla="*/ 386767 w 4103688"/>
              <a:gd name="connsiteY32" fmla="*/ 6611710 h 6858000"/>
              <a:gd name="connsiteX33" fmla="*/ 386767 w 4103688"/>
              <a:gd name="connsiteY33" fmla="*/ 6648549 h 6858000"/>
              <a:gd name="connsiteX34" fmla="*/ 343191 w 4103688"/>
              <a:gd name="connsiteY34" fmla="*/ 6648549 h 6858000"/>
              <a:gd name="connsiteX35" fmla="*/ 294343 w 4103688"/>
              <a:gd name="connsiteY35" fmla="*/ 6599438 h 6858000"/>
              <a:gd name="connsiteX36" fmla="*/ 343191 w 4103688"/>
              <a:gd name="connsiteY36" fmla="*/ 6550305 h 6858000"/>
              <a:gd name="connsiteX37" fmla="*/ 399001 w 4103688"/>
              <a:gd name="connsiteY37" fmla="*/ 6550305 h 6858000"/>
              <a:gd name="connsiteX38" fmla="*/ 399001 w 4103688"/>
              <a:gd name="connsiteY38" fmla="*/ 6525716 h 6858000"/>
              <a:gd name="connsiteX39" fmla="*/ 0 w 4103688"/>
              <a:gd name="connsiteY39" fmla="*/ 0 h 6858000"/>
              <a:gd name="connsiteX40" fmla="*/ 4103688 w 4103688"/>
              <a:gd name="connsiteY40" fmla="*/ 0 h 6858000"/>
              <a:gd name="connsiteX41" fmla="*/ 4103688 w 4103688"/>
              <a:gd name="connsiteY41" fmla="*/ 6858000 h 6858000"/>
              <a:gd name="connsiteX42" fmla="*/ 0 w 4103688"/>
              <a:gd name="connsiteY4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4103688" h="6858000">
                <a:moveTo>
                  <a:pt x="644822" y="6525737"/>
                </a:moveTo>
                <a:lnTo>
                  <a:pt x="620244" y="6574870"/>
                </a:lnTo>
                <a:lnTo>
                  <a:pt x="647589" y="6574870"/>
                </a:lnTo>
                <a:lnTo>
                  <a:pt x="663359" y="6543410"/>
                </a:lnTo>
                <a:lnTo>
                  <a:pt x="728153" y="6673136"/>
                </a:lnTo>
                <a:lnTo>
                  <a:pt x="755498" y="6673136"/>
                </a:lnTo>
                <a:lnTo>
                  <a:pt x="681699" y="6525737"/>
                </a:lnTo>
                <a:close/>
                <a:moveTo>
                  <a:pt x="448200" y="6525716"/>
                </a:moveTo>
                <a:lnTo>
                  <a:pt x="448200" y="6574871"/>
                </a:lnTo>
                <a:lnTo>
                  <a:pt x="472778" y="6574871"/>
                </a:lnTo>
                <a:lnTo>
                  <a:pt x="472778" y="6550305"/>
                </a:lnTo>
                <a:lnTo>
                  <a:pt x="558811" y="6550305"/>
                </a:lnTo>
                <a:lnTo>
                  <a:pt x="558811" y="6525738"/>
                </a:lnTo>
                <a:close/>
                <a:moveTo>
                  <a:pt x="343191" y="6525716"/>
                </a:moveTo>
                <a:cubicBezTo>
                  <a:pt x="302777" y="6525716"/>
                  <a:pt x="269875" y="6558801"/>
                  <a:pt x="269875" y="6599460"/>
                </a:cubicBezTo>
                <a:cubicBezTo>
                  <a:pt x="269875" y="6640096"/>
                  <a:pt x="302777" y="6673137"/>
                  <a:pt x="343191" y="6673137"/>
                </a:cubicBezTo>
                <a:lnTo>
                  <a:pt x="411345" y="6673137"/>
                </a:lnTo>
                <a:lnTo>
                  <a:pt x="411345" y="6611710"/>
                </a:lnTo>
                <a:lnTo>
                  <a:pt x="448201" y="6611710"/>
                </a:lnTo>
                <a:lnTo>
                  <a:pt x="448201" y="6673115"/>
                </a:lnTo>
                <a:lnTo>
                  <a:pt x="546511" y="6673115"/>
                </a:lnTo>
                <a:lnTo>
                  <a:pt x="558789" y="6648549"/>
                </a:lnTo>
                <a:lnTo>
                  <a:pt x="472778" y="6648549"/>
                </a:lnTo>
                <a:lnTo>
                  <a:pt x="472778" y="6611710"/>
                </a:lnTo>
                <a:lnTo>
                  <a:pt x="601663" y="6611710"/>
                </a:lnTo>
                <a:lnTo>
                  <a:pt x="571089" y="6673115"/>
                </a:lnTo>
                <a:lnTo>
                  <a:pt x="598412" y="6673115"/>
                </a:lnTo>
                <a:lnTo>
                  <a:pt x="629140" y="6611710"/>
                </a:lnTo>
                <a:lnTo>
                  <a:pt x="681678" y="6611710"/>
                </a:lnTo>
                <a:lnTo>
                  <a:pt x="669400" y="6587165"/>
                </a:lnTo>
                <a:lnTo>
                  <a:pt x="349890" y="6587143"/>
                </a:lnTo>
                <a:lnTo>
                  <a:pt x="337612" y="6611710"/>
                </a:lnTo>
                <a:lnTo>
                  <a:pt x="386767" y="6611710"/>
                </a:lnTo>
                <a:lnTo>
                  <a:pt x="386767" y="6648549"/>
                </a:lnTo>
                <a:lnTo>
                  <a:pt x="343191" y="6648549"/>
                </a:lnTo>
                <a:cubicBezTo>
                  <a:pt x="316263" y="6648549"/>
                  <a:pt x="294343" y="6626617"/>
                  <a:pt x="294343" y="6599438"/>
                </a:cubicBezTo>
                <a:cubicBezTo>
                  <a:pt x="294343" y="6572259"/>
                  <a:pt x="316263" y="6550305"/>
                  <a:pt x="343191" y="6550305"/>
                </a:cubicBezTo>
                <a:lnTo>
                  <a:pt x="399001" y="6550305"/>
                </a:lnTo>
                <a:lnTo>
                  <a:pt x="399001" y="6525716"/>
                </a:lnTo>
                <a:close/>
                <a:moveTo>
                  <a:pt x="0" y="0"/>
                </a:moveTo>
                <a:lnTo>
                  <a:pt x="4103688" y="0"/>
                </a:lnTo>
                <a:lnTo>
                  <a:pt x="410368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9263" y="229880"/>
            <a:ext cx="7669212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59263" y="683089"/>
            <a:ext cx="7669212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9263" y="6076176"/>
            <a:ext cx="7669212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BE18DBDC-B09F-46BE-872E-3DB59E263B80}" type="datetime4">
              <a:rPr lang="en-US" smtClean="0"/>
              <a:t>July 4, 2024</a:t>
            </a:fld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B26D4A1-D6CF-4C7C-ABDC-C599E88E6207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59842" y="1449388"/>
            <a:ext cx="7668633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3978381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4" pos="2683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- white - full pic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9597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B38D6861-D900-46A8-B7EC-2D6AE501F62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44822 w 12192000"/>
              <a:gd name="connsiteY0" fmla="*/ 6525737 h 6858000"/>
              <a:gd name="connsiteX1" fmla="*/ 620244 w 12192000"/>
              <a:gd name="connsiteY1" fmla="*/ 6574870 h 6858000"/>
              <a:gd name="connsiteX2" fmla="*/ 647589 w 12192000"/>
              <a:gd name="connsiteY2" fmla="*/ 6574870 h 6858000"/>
              <a:gd name="connsiteX3" fmla="*/ 663359 w 12192000"/>
              <a:gd name="connsiteY3" fmla="*/ 6543410 h 6858000"/>
              <a:gd name="connsiteX4" fmla="*/ 728153 w 12192000"/>
              <a:gd name="connsiteY4" fmla="*/ 6673136 h 6858000"/>
              <a:gd name="connsiteX5" fmla="*/ 755498 w 12192000"/>
              <a:gd name="connsiteY5" fmla="*/ 6673136 h 6858000"/>
              <a:gd name="connsiteX6" fmla="*/ 681699 w 12192000"/>
              <a:gd name="connsiteY6" fmla="*/ 6525737 h 6858000"/>
              <a:gd name="connsiteX7" fmla="*/ 448200 w 12192000"/>
              <a:gd name="connsiteY7" fmla="*/ 6525716 h 6858000"/>
              <a:gd name="connsiteX8" fmla="*/ 448200 w 12192000"/>
              <a:gd name="connsiteY8" fmla="*/ 6574871 h 6858000"/>
              <a:gd name="connsiteX9" fmla="*/ 472778 w 12192000"/>
              <a:gd name="connsiteY9" fmla="*/ 6574871 h 6858000"/>
              <a:gd name="connsiteX10" fmla="*/ 472778 w 12192000"/>
              <a:gd name="connsiteY10" fmla="*/ 6550305 h 6858000"/>
              <a:gd name="connsiteX11" fmla="*/ 558811 w 12192000"/>
              <a:gd name="connsiteY11" fmla="*/ 6550305 h 6858000"/>
              <a:gd name="connsiteX12" fmla="*/ 558811 w 12192000"/>
              <a:gd name="connsiteY12" fmla="*/ 6525738 h 6858000"/>
              <a:gd name="connsiteX13" fmla="*/ 343191 w 12192000"/>
              <a:gd name="connsiteY13" fmla="*/ 6525716 h 6858000"/>
              <a:gd name="connsiteX14" fmla="*/ 269875 w 12192000"/>
              <a:gd name="connsiteY14" fmla="*/ 6599460 h 6858000"/>
              <a:gd name="connsiteX15" fmla="*/ 343191 w 12192000"/>
              <a:gd name="connsiteY15" fmla="*/ 6673137 h 6858000"/>
              <a:gd name="connsiteX16" fmla="*/ 411345 w 12192000"/>
              <a:gd name="connsiteY16" fmla="*/ 6673137 h 6858000"/>
              <a:gd name="connsiteX17" fmla="*/ 411345 w 12192000"/>
              <a:gd name="connsiteY17" fmla="*/ 6611710 h 6858000"/>
              <a:gd name="connsiteX18" fmla="*/ 448201 w 12192000"/>
              <a:gd name="connsiteY18" fmla="*/ 6611710 h 6858000"/>
              <a:gd name="connsiteX19" fmla="*/ 448201 w 12192000"/>
              <a:gd name="connsiteY19" fmla="*/ 6673115 h 6858000"/>
              <a:gd name="connsiteX20" fmla="*/ 546511 w 12192000"/>
              <a:gd name="connsiteY20" fmla="*/ 6673115 h 6858000"/>
              <a:gd name="connsiteX21" fmla="*/ 558789 w 12192000"/>
              <a:gd name="connsiteY21" fmla="*/ 6648549 h 6858000"/>
              <a:gd name="connsiteX22" fmla="*/ 472778 w 12192000"/>
              <a:gd name="connsiteY22" fmla="*/ 6648549 h 6858000"/>
              <a:gd name="connsiteX23" fmla="*/ 472778 w 12192000"/>
              <a:gd name="connsiteY23" fmla="*/ 6611710 h 6858000"/>
              <a:gd name="connsiteX24" fmla="*/ 601663 w 12192000"/>
              <a:gd name="connsiteY24" fmla="*/ 6611710 h 6858000"/>
              <a:gd name="connsiteX25" fmla="*/ 571089 w 12192000"/>
              <a:gd name="connsiteY25" fmla="*/ 6673115 h 6858000"/>
              <a:gd name="connsiteX26" fmla="*/ 598412 w 12192000"/>
              <a:gd name="connsiteY26" fmla="*/ 6673115 h 6858000"/>
              <a:gd name="connsiteX27" fmla="*/ 629140 w 12192000"/>
              <a:gd name="connsiteY27" fmla="*/ 6611710 h 6858000"/>
              <a:gd name="connsiteX28" fmla="*/ 681678 w 12192000"/>
              <a:gd name="connsiteY28" fmla="*/ 6611710 h 6858000"/>
              <a:gd name="connsiteX29" fmla="*/ 669400 w 12192000"/>
              <a:gd name="connsiteY29" fmla="*/ 6587165 h 6858000"/>
              <a:gd name="connsiteX30" fmla="*/ 349890 w 12192000"/>
              <a:gd name="connsiteY30" fmla="*/ 6587143 h 6858000"/>
              <a:gd name="connsiteX31" fmla="*/ 337612 w 12192000"/>
              <a:gd name="connsiteY31" fmla="*/ 6611710 h 6858000"/>
              <a:gd name="connsiteX32" fmla="*/ 386767 w 12192000"/>
              <a:gd name="connsiteY32" fmla="*/ 6611710 h 6858000"/>
              <a:gd name="connsiteX33" fmla="*/ 386767 w 12192000"/>
              <a:gd name="connsiteY33" fmla="*/ 6648549 h 6858000"/>
              <a:gd name="connsiteX34" fmla="*/ 343191 w 12192000"/>
              <a:gd name="connsiteY34" fmla="*/ 6648549 h 6858000"/>
              <a:gd name="connsiteX35" fmla="*/ 294343 w 12192000"/>
              <a:gd name="connsiteY35" fmla="*/ 6599438 h 6858000"/>
              <a:gd name="connsiteX36" fmla="*/ 343191 w 12192000"/>
              <a:gd name="connsiteY36" fmla="*/ 6550305 h 6858000"/>
              <a:gd name="connsiteX37" fmla="*/ 399001 w 12192000"/>
              <a:gd name="connsiteY37" fmla="*/ 6550305 h 6858000"/>
              <a:gd name="connsiteX38" fmla="*/ 399001 w 12192000"/>
              <a:gd name="connsiteY38" fmla="*/ 6525716 h 6858000"/>
              <a:gd name="connsiteX39" fmla="*/ 0 w 12192000"/>
              <a:gd name="connsiteY39" fmla="*/ 0 h 6858000"/>
              <a:gd name="connsiteX40" fmla="*/ 12192000 w 12192000"/>
              <a:gd name="connsiteY40" fmla="*/ 0 h 6858000"/>
              <a:gd name="connsiteX41" fmla="*/ 12192000 w 12192000"/>
              <a:gd name="connsiteY41" fmla="*/ 6858000 h 6858000"/>
              <a:gd name="connsiteX42" fmla="*/ 0 w 12192000"/>
              <a:gd name="connsiteY4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192000" h="6858000">
                <a:moveTo>
                  <a:pt x="644822" y="6525737"/>
                </a:moveTo>
                <a:lnTo>
                  <a:pt x="620244" y="6574870"/>
                </a:lnTo>
                <a:lnTo>
                  <a:pt x="647589" y="6574870"/>
                </a:lnTo>
                <a:lnTo>
                  <a:pt x="663359" y="6543410"/>
                </a:lnTo>
                <a:lnTo>
                  <a:pt x="728153" y="6673136"/>
                </a:lnTo>
                <a:lnTo>
                  <a:pt x="755498" y="6673136"/>
                </a:lnTo>
                <a:lnTo>
                  <a:pt x="681699" y="6525737"/>
                </a:lnTo>
                <a:close/>
                <a:moveTo>
                  <a:pt x="448200" y="6525716"/>
                </a:moveTo>
                <a:lnTo>
                  <a:pt x="448200" y="6574871"/>
                </a:lnTo>
                <a:lnTo>
                  <a:pt x="472778" y="6574871"/>
                </a:lnTo>
                <a:lnTo>
                  <a:pt x="472778" y="6550305"/>
                </a:lnTo>
                <a:lnTo>
                  <a:pt x="558811" y="6550305"/>
                </a:lnTo>
                <a:lnTo>
                  <a:pt x="558811" y="6525738"/>
                </a:lnTo>
                <a:close/>
                <a:moveTo>
                  <a:pt x="343191" y="6525716"/>
                </a:moveTo>
                <a:cubicBezTo>
                  <a:pt x="302777" y="6525716"/>
                  <a:pt x="269875" y="6558801"/>
                  <a:pt x="269875" y="6599460"/>
                </a:cubicBezTo>
                <a:cubicBezTo>
                  <a:pt x="269875" y="6640096"/>
                  <a:pt x="302777" y="6673137"/>
                  <a:pt x="343191" y="6673137"/>
                </a:cubicBezTo>
                <a:lnTo>
                  <a:pt x="411345" y="6673137"/>
                </a:lnTo>
                <a:lnTo>
                  <a:pt x="411345" y="6611710"/>
                </a:lnTo>
                <a:lnTo>
                  <a:pt x="448201" y="6611710"/>
                </a:lnTo>
                <a:lnTo>
                  <a:pt x="448201" y="6673115"/>
                </a:lnTo>
                <a:lnTo>
                  <a:pt x="546511" y="6673115"/>
                </a:lnTo>
                <a:lnTo>
                  <a:pt x="558789" y="6648549"/>
                </a:lnTo>
                <a:lnTo>
                  <a:pt x="472778" y="6648549"/>
                </a:lnTo>
                <a:lnTo>
                  <a:pt x="472778" y="6611710"/>
                </a:lnTo>
                <a:lnTo>
                  <a:pt x="601663" y="6611710"/>
                </a:lnTo>
                <a:lnTo>
                  <a:pt x="571089" y="6673115"/>
                </a:lnTo>
                <a:lnTo>
                  <a:pt x="598412" y="6673115"/>
                </a:lnTo>
                <a:lnTo>
                  <a:pt x="629140" y="6611710"/>
                </a:lnTo>
                <a:lnTo>
                  <a:pt x="681678" y="6611710"/>
                </a:lnTo>
                <a:lnTo>
                  <a:pt x="669400" y="6587165"/>
                </a:lnTo>
                <a:lnTo>
                  <a:pt x="349890" y="6587143"/>
                </a:lnTo>
                <a:lnTo>
                  <a:pt x="337612" y="6611710"/>
                </a:lnTo>
                <a:lnTo>
                  <a:pt x="386767" y="6611710"/>
                </a:lnTo>
                <a:lnTo>
                  <a:pt x="386767" y="6648549"/>
                </a:lnTo>
                <a:lnTo>
                  <a:pt x="343191" y="6648549"/>
                </a:lnTo>
                <a:cubicBezTo>
                  <a:pt x="316263" y="6648549"/>
                  <a:pt x="294343" y="6626617"/>
                  <a:pt x="294343" y="6599438"/>
                </a:cubicBezTo>
                <a:cubicBezTo>
                  <a:pt x="294343" y="6572259"/>
                  <a:pt x="316263" y="6550305"/>
                  <a:pt x="343191" y="6550305"/>
                </a:cubicBezTo>
                <a:lnTo>
                  <a:pt x="399001" y="6550305"/>
                </a:lnTo>
                <a:lnTo>
                  <a:pt x="399001" y="652571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4D9559E-510B-4DDB-8770-39233643DD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12000" y="4572000"/>
            <a:ext cx="4063998" cy="2286000"/>
          </a:xfrm>
          <a:solidFill>
            <a:schemeClr val="bg1"/>
          </a:solidFill>
        </p:spPr>
        <p:txBody>
          <a:bodyPr lIns="180000" tIns="108000" rIns="180000" bIns="72000"/>
          <a:lstStyle>
            <a:lvl1pPr marL="0" indent="0" rtl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Key message, </a:t>
            </a:r>
            <a:br>
              <a:rPr lang="en-US"/>
            </a:br>
            <a:r>
              <a:rPr lang="en-US"/>
              <a:t>Inter 20pt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5A4BAA6F-C015-46D0-8E54-95E2654FC0B0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C3CC1291-24AC-4339-9898-6A798C87497B}" type="datetime4">
              <a:rPr lang="en-US" smtClean="0"/>
              <a:t>July 4, 2024</a:t>
            </a:fld>
            <a:endParaRPr lang="en-US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D4F04FDA-4216-44B6-8607-894B6264215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C2468A75-9618-4FC6-879B-B418A14C368E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2217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- white - full pic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7153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B38D6861-D900-46A8-B7EC-2D6AE501F62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44822 w 12192000"/>
              <a:gd name="connsiteY0" fmla="*/ 6525737 h 6858000"/>
              <a:gd name="connsiteX1" fmla="*/ 620244 w 12192000"/>
              <a:gd name="connsiteY1" fmla="*/ 6574870 h 6858000"/>
              <a:gd name="connsiteX2" fmla="*/ 647589 w 12192000"/>
              <a:gd name="connsiteY2" fmla="*/ 6574870 h 6858000"/>
              <a:gd name="connsiteX3" fmla="*/ 663359 w 12192000"/>
              <a:gd name="connsiteY3" fmla="*/ 6543410 h 6858000"/>
              <a:gd name="connsiteX4" fmla="*/ 728153 w 12192000"/>
              <a:gd name="connsiteY4" fmla="*/ 6673136 h 6858000"/>
              <a:gd name="connsiteX5" fmla="*/ 755498 w 12192000"/>
              <a:gd name="connsiteY5" fmla="*/ 6673136 h 6858000"/>
              <a:gd name="connsiteX6" fmla="*/ 681699 w 12192000"/>
              <a:gd name="connsiteY6" fmla="*/ 6525737 h 6858000"/>
              <a:gd name="connsiteX7" fmla="*/ 448200 w 12192000"/>
              <a:gd name="connsiteY7" fmla="*/ 6525716 h 6858000"/>
              <a:gd name="connsiteX8" fmla="*/ 448200 w 12192000"/>
              <a:gd name="connsiteY8" fmla="*/ 6574871 h 6858000"/>
              <a:gd name="connsiteX9" fmla="*/ 472778 w 12192000"/>
              <a:gd name="connsiteY9" fmla="*/ 6574871 h 6858000"/>
              <a:gd name="connsiteX10" fmla="*/ 472778 w 12192000"/>
              <a:gd name="connsiteY10" fmla="*/ 6550305 h 6858000"/>
              <a:gd name="connsiteX11" fmla="*/ 558811 w 12192000"/>
              <a:gd name="connsiteY11" fmla="*/ 6550305 h 6858000"/>
              <a:gd name="connsiteX12" fmla="*/ 558811 w 12192000"/>
              <a:gd name="connsiteY12" fmla="*/ 6525738 h 6858000"/>
              <a:gd name="connsiteX13" fmla="*/ 343191 w 12192000"/>
              <a:gd name="connsiteY13" fmla="*/ 6525716 h 6858000"/>
              <a:gd name="connsiteX14" fmla="*/ 269875 w 12192000"/>
              <a:gd name="connsiteY14" fmla="*/ 6599460 h 6858000"/>
              <a:gd name="connsiteX15" fmla="*/ 343191 w 12192000"/>
              <a:gd name="connsiteY15" fmla="*/ 6673137 h 6858000"/>
              <a:gd name="connsiteX16" fmla="*/ 411345 w 12192000"/>
              <a:gd name="connsiteY16" fmla="*/ 6673137 h 6858000"/>
              <a:gd name="connsiteX17" fmla="*/ 411345 w 12192000"/>
              <a:gd name="connsiteY17" fmla="*/ 6611710 h 6858000"/>
              <a:gd name="connsiteX18" fmla="*/ 448201 w 12192000"/>
              <a:gd name="connsiteY18" fmla="*/ 6611710 h 6858000"/>
              <a:gd name="connsiteX19" fmla="*/ 448201 w 12192000"/>
              <a:gd name="connsiteY19" fmla="*/ 6673115 h 6858000"/>
              <a:gd name="connsiteX20" fmla="*/ 546511 w 12192000"/>
              <a:gd name="connsiteY20" fmla="*/ 6673115 h 6858000"/>
              <a:gd name="connsiteX21" fmla="*/ 558789 w 12192000"/>
              <a:gd name="connsiteY21" fmla="*/ 6648549 h 6858000"/>
              <a:gd name="connsiteX22" fmla="*/ 472778 w 12192000"/>
              <a:gd name="connsiteY22" fmla="*/ 6648549 h 6858000"/>
              <a:gd name="connsiteX23" fmla="*/ 472778 w 12192000"/>
              <a:gd name="connsiteY23" fmla="*/ 6611710 h 6858000"/>
              <a:gd name="connsiteX24" fmla="*/ 601663 w 12192000"/>
              <a:gd name="connsiteY24" fmla="*/ 6611710 h 6858000"/>
              <a:gd name="connsiteX25" fmla="*/ 571089 w 12192000"/>
              <a:gd name="connsiteY25" fmla="*/ 6673115 h 6858000"/>
              <a:gd name="connsiteX26" fmla="*/ 598412 w 12192000"/>
              <a:gd name="connsiteY26" fmla="*/ 6673115 h 6858000"/>
              <a:gd name="connsiteX27" fmla="*/ 629140 w 12192000"/>
              <a:gd name="connsiteY27" fmla="*/ 6611710 h 6858000"/>
              <a:gd name="connsiteX28" fmla="*/ 681678 w 12192000"/>
              <a:gd name="connsiteY28" fmla="*/ 6611710 h 6858000"/>
              <a:gd name="connsiteX29" fmla="*/ 669400 w 12192000"/>
              <a:gd name="connsiteY29" fmla="*/ 6587165 h 6858000"/>
              <a:gd name="connsiteX30" fmla="*/ 349890 w 12192000"/>
              <a:gd name="connsiteY30" fmla="*/ 6587143 h 6858000"/>
              <a:gd name="connsiteX31" fmla="*/ 337612 w 12192000"/>
              <a:gd name="connsiteY31" fmla="*/ 6611710 h 6858000"/>
              <a:gd name="connsiteX32" fmla="*/ 386767 w 12192000"/>
              <a:gd name="connsiteY32" fmla="*/ 6611710 h 6858000"/>
              <a:gd name="connsiteX33" fmla="*/ 386767 w 12192000"/>
              <a:gd name="connsiteY33" fmla="*/ 6648549 h 6858000"/>
              <a:gd name="connsiteX34" fmla="*/ 343191 w 12192000"/>
              <a:gd name="connsiteY34" fmla="*/ 6648549 h 6858000"/>
              <a:gd name="connsiteX35" fmla="*/ 294343 w 12192000"/>
              <a:gd name="connsiteY35" fmla="*/ 6599438 h 6858000"/>
              <a:gd name="connsiteX36" fmla="*/ 343191 w 12192000"/>
              <a:gd name="connsiteY36" fmla="*/ 6550305 h 6858000"/>
              <a:gd name="connsiteX37" fmla="*/ 399001 w 12192000"/>
              <a:gd name="connsiteY37" fmla="*/ 6550305 h 6858000"/>
              <a:gd name="connsiteX38" fmla="*/ 399001 w 12192000"/>
              <a:gd name="connsiteY38" fmla="*/ 6525716 h 6858000"/>
              <a:gd name="connsiteX39" fmla="*/ 0 w 12192000"/>
              <a:gd name="connsiteY39" fmla="*/ 0 h 6858000"/>
              <a:gd name="connsiteX40" fmla="*/ 12192000 w 12192000"/>
              <a:gd name="connsiteY40" fmla="*/ 0 h 6858000"/>
              <a:gd name="connsiteX41" fmla="*/ 12192000 w 12192000"/>
              <a:gd name="connsiteY41" fmla="*/ 6858000 h 6858000"/>
              <a:gd name="connsiteX42" fmla="*/ 0 w 12192000"/>
              <a:gd name="connsiteY4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192000" h="6858000">
                <a:moveTo>
                  <a:pt x="644822" y="6525737"/>
                </a:moveTo>
                <a:lnTo>
                  <a:pt x="620244" y="6574870"/>
                </a:lnTo>
                <a:lnTo>
                  <a:pt x="647589" y="6574870"/>
                </a:lnTo>
                <a:lnTo>
                  <a:pt x="663359" y="6543410"/>
                </a:lnTo>
                <a:lnTo>
                  <a:pt x="728153" y="6673136"/>
                </a:lnTo>
                <a:lnTo>
                  <a:pt x="755498" y="6673136"/>
                </a:lnTo>
                <a:lnTo>
                  <a:pt x="681699" y="6525737"/>
                </a:lnTo>
                <a:close/>
                <a:moveTo>
                  <a:pt x="448200" y="6525716"/>
                </a:moveTo>
                <a:lnTo>
                  <a:pt x="448200" y="6574871"/>
                </a:lnTo>
                <a:lnTo>
                  <a:pt x="472778" y="6574871"/>
                </a:lnTo>
                <a:lnTo>
                  <a:pt x="472778" y="6550305"/>
                </a:lnTo>
                <a:lnTo>
                  <a:pt x="558811" y="6550305"/>
                </a:lnTo>
                <a:lnTo>
                  <a:pt x="558811" y="6525738"/>
                </a:lnTo>
                <a:close/>
                <a:moveTo>
                  <a:pt x="343191" y="6525716"/>
                </a:moveTo>
                <a:cubicBezTo>
                  <a:pt x="302777" y="6525716"/>
                  <a:pt x="269875" y="6558801"/>
                  <a:pt x="269875" y="6599460"/>
                </a:cubicBezTo>
                <a:cubicBezTo>
                  <a:pt x="269875" y="6640096"/>
                  <a:pt x="302777" y="6673137"/>
                  <a:pt x="343191" y="6673137"/>
                </a:cubicBezTo>
                <a:lnTo>
                  <a:pt x="411345" y="6673137"/>
                </a:lnTo>
                <a:lnTo>
                  <a:pt x="411345" y="6611710"/>
                </a:lnTo>
                <a:lnTo>
                  <a:pt x="448201" y="6611710"/>
                </a:lnTo>
                <a:lnTo>
                  <a:pt x="448201" y="6673115"/>
                </a:lnTo>
                <a:lnTo>
                  <a:pt x="546511" y="6673115"/>
                </a:lnTo>
                <a:lnTo>
                  <a:pt x="558789" y="6648549"/>
                </a:lnTo>
                <a:lnTo>
                  <a:pt x="472778" y="6648549"/>
                </a:lnTo>
                <a:lnTo>
                  <a:pt x="472778" y="6611710"/>
                </a:lnTo>
                <a:lnTo>
                  <a:pt x="601663" y="6611710"/>
                </a:lnTo>
                <a:lnTo>
                  <a:pt x="571089" y="6673115"/>
                </a:lnTo>
                <a:lnTo>
                  <a:pt x="598412" y="6673115"/>
                </a:lnTo>
                <a:lnTo>
                  <a:pt x="629140" y="6611710"/>
                </a:lnTo>
                <a:lnTo>
                  <a:pt x="681678" y="6611710"/>
                </a:lnTo>
                <a:lnTo>
                  <a:pt x="669400" y="6587165"/>
                </a:lnTo>
                <a:lnTo>
                  <a:pt x="349890" y="6587143"/>
                </a:lnTo>
                <a:lnTo>
                  <a:pt x="337612" y="6611710"/>
                </a:lnTo>
                <a:lnTo>
                  <a:pt x="386767" y="6611710"/>
                </a:lnTo>
                <a:lnTo>
                  <a:pt x="386767" y="6648549"/>
                </a:lnTo>
                <a:lnTo>
                  <a:pt x="343191" y="6648549"/>
                </a:lnTo>
                <a:cubicBezTo>
                  <a:pt x="316263" y="6648549"/>
                  <a:pt x="294343" y="6626617"/>
                  <a:pt x="294343" y="6599438"/>
                </a:cubicBezTo>
                <a:cubicBezTo>
                  <a:pt x="294343" y="6572259"/>
                  <a:pt x="316263" y="6550305"/>
                  <a:pt x="343191" y="6550305"/>
                </a:cubicBezTo>
                <a:lnTo>
                  <a:pt x="399001" y="6550305"/>
                </a:lnTo>
                <a:lnTo>
                  <a:pt x="399001" y="652571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4D9559E-510B-4DDB-8770-39233643DD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12000" y="0"/>
            <a:ext cx="4063998" cy="3429000"/>
          </a:xfrm>
          <a:solidFill>
            <a:schemeClr val="bg1"/>
          </a:solidFill>
        </p:spPr>
        <p:txBody>
          <a:bodyPr lIns="180000" tIns="396000" rIns="180000" bIns="72000"/>
          <a:lstStyle>
            <a:lvl1pPr marL="0" indent="0" rtl="0">
              <a:spcBef>
                <a:spcPts val="0"/>
              </a:spcBef>
              <a:buNone/>
              <a:defRPr sz="3000">
                <a:solidFill>
                  <a:schemeClr val="accent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Key message, </a:t>
            </a:r>
            <a:br>
              <a:rPr lang="en-US"/>
            </a:br>
            <a:r>
              <a:rPr lang="en-US"/>
              <a:t>Inter 30pt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5A4BAA6F-C015-46D0-8E54-95E2654FC0B0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313A81EF-B793-40D8-9C00-61E0E6944481}" type="datetime4">
              <a:rPr lang="en-US" smtClean="0"/>
              <a:t>July 4, 2024</a:t>
            </a:fld>
            <a:endParaRPr lang="en-US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D4F04FDA-4216-44B6-8607-894B6264215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C2468A75-9618-4FC6-879B-B418A14C368E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69996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- white -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9600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92F8E679-E260-49EB-A3CA-F368C0674365}"/>
              </a:ext>
            </a:extLst>
          </p:cNvPr>
          <p:cNvGrpSpPr/>
          <p:nvPr/>
        </p:nvGrpSpPr>
        <p:grpSpPr>
          <a:xfrm>
            <a:off x="270000" y="270000"/>
            <a:ext cx="1346400" cy="244836"/>
            <a:chOff x="270000" y="270000"/>
            <a:chExt cx="1346400" cy="244836"/>
          </a:xfrm>
          <a:solidFill>
            <a:schemeClr val="accent1"/>
          </a:solidFill>
        </p:grpSpPr>
        <p:sp>
          <p:nvSpPr>
            <p:cNvPr id="86" name="Freihandform 42">
              <a:extLst>
                <a:ext uri="{FF2B5EF4-FFF2-40B4-BE49-F238E27FC236}">
                  <a16:creationId xmlns:a16="http://schemas.microsoft.com/office/drawing/2014/main" id="{C78A4FAC-CC44-4149-A771-0D69677F7ECA}"/>
                </a:ext>
              </a:extLst>
            </p:cNvPr>
            <p:cNvSpPr/>
            <p:nvPr/>
          </p:nvSpPr>
          <p:spPr bwMode="invGray">
            <a:xfrm>
              <a:off x="846965" y="272507"/>
              <a:ext cx="222709" cy="241364"/>
            </a:xfrm>
            <a:custGeom>
              <a:avLst/>
              <a:gdLst>
                <a:gd name="connsiteX0" fmla="*/ 462697 w 1018566"/>
                <a:gd name="connsiteY0" fmla="*/ 0 h 1103885"/>
                <a:gd name="connsiteX1" fmla="*/ 185079 w 1018566"/>
                <a:gd name="connsiteY1" fmla="*/ 0 h 1103885"/>
                <a:gd name="connsiteX2" fmla="*/ 0 w 1018566"/>
                <a:gd name="connsiteY2" fmla="*/ 368046 h 1103885"/>
                <a:gd name="connsiteX3" fmla="*/ 205995 w 1018566"/>
                <a:gd name="connsiteY3" fmla="*/ 368046 h 1103885"/>
                <a:gd name="connsiteX4" fmla="*/ 324648 w 1018566"/>
                <a:gd name="connsiteY4" fmla="*/ 132300 h 1103885"/>
                <a:gd name="connsiteX5" fmla="*/ 812698 w 1018566"/>
                <a:gd name="connsiteY5" fmla="*/ 1103886 h 1103885"/>
                <a:gd name="connsiteX6" fmla="*/ 1018566 w 1018566"/>
                <a:gd name="connsiteY6" fmla="*/ 1103886 h 1103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8566" h="1103885">
                  <a:moveTo>
                    <a:pt x="462697" y="0"/>
                  </a:moveTo>
                  <a:lnTo>
                    <a:pt x="185079" y="0"/>
                  </a:lnTo>
                  <a:lnTo>
                    <a:pt x="0" y="368046"/>
                  </a:lnTo>
                  <a:lnTo>
                    <a:pt x="205995" y="368046"/>
                  </a:lnTo>
                  <a:lnTo>
                    <a:pt x="324648" y="132300"/>
                  </a:lnTo>
                  <a:lnTo>
                    <a:pt x="812698" y="1103886"/>
                  </a:lnTo>
                  <a:lnTo>
                    <a:pt x="1018566" y="1103886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7" name="Freihandform 43">
              <a:extLst>
                <a:ext uri="{FF2B5EF4-FFF2-40B4-BE49-F238E27FC236}">
                  <a16:creationId xmlns:a16="http://schemas.microsoft.com/office/drawing/2014/main" id="{DE7A47C8-1A17-47CB-B506-734C6F33ACE4}"/>
                </a:ext>
              </a:extLst>
            </p:cNvPr>
            <p:cNvSpPr/>
            <p:nvPr/>
          </p:nvSpPr>
          <p:spPr bwMode="invGray">
            <a:xfrm>
              <a:off x="270000" y="272479"/>
              <a:ext cx="678133" cy="241392"/>
            </a:xfrm>
            <a:custGeom>
              <a:avLst/>
              <a:gdLst>
                <a:gd name="connsiteX0" fmla="*/ 3008922 w 3101461"/>
                <a:gd name="connsiteY0" fmla="*/ 460152 h 1104011"/>
                <a:gd name="connsiteX1" fmla="*/ 602646 w 3101461"/>
                <a:gd name="connsiteY1" fmla="*/ 460152 h 1104011"/>
                <a:gd name="connsiteX2" fmla="*/ 510107 w 3101461"/>
                <a:gd name="connsiteY2" fmla="*/ 644112 h 1104011"/>
                <a:gd name="connsiteX3" fmla="*/ 880264 w 3101461"/>
                <a:gd name="connsiteY3" fmla="*/ 644112 h 1104011"/>
                <a:gd name="connsiteX4" fmla="*/ 880264 w 3101461"/>
                <a:gd name="connsiteY4" fmla="*/ 920052 h 1104011"/>
                <a:gd name="connsiteX5" fmla="*/ 552193 w 3101461"/>
                <a:gd name="connsiteY5" fmla="*/ 920052 h 1104011"/>
                <a:gd name="connsiteX6" fmla="*/ 184191 w 3101461"/>
                <a:gd name="connsiteY6" fmla="*/ 552258 h 1104011"/>
                <a:gd name="connsiteX7" fmla="*/ 552193 w 3101461"/>
                <a:gd name="connsiteY7" fmla="*/ 184086 h 1104011"/>
                <a:gd name="connsiteX8" fmla="*/ 972550 w 3101461"/>
                <a:gd name="connsiteY8" fmla="*/ 184086 h 1104011"/>
                <a:gd name="connsiteX9" fmla="*/ 972550 w 3101461"/>
                <a:gd name="connsiteY9" fmla="*/ 0 h 1104011"/>
                <a:gd name="connsiteX10" fmla="*/ 552193 w 3101461"/>
                <a:gd name="connsiteY10" fmla="*/ 0 h 1104011"/>
                <a:gd name="connsiteX11" fmla="*/ 0 w 3101461"/>
                <a:gd name="connsiteY11" fmla="*/ 552258 h 1104011"/>
                <a:gd name="connsiteX12" fmla="*/ 552193 w 3101461"/>
                <a:gd name="connsiteY12" fmla="*/ 1104012 h 1104011"/>
                <a:gd name="connsiteX13" fmla="*/ 1065470 w 3101461"/>
                <a:gd name="connsiteY13" fmla="*/ 1104012 h 1104011"/>
                <a:gd name="connsiteX14" fmla="*/ 1065470 w 3101461"/>
                <a:gd name="connsiteY14" fmla="*/ 644112 h 1104011"/>
                <a:gd name="connsiteX15" fmla="*/ 1343088 w 3101461"/>
                <a:gd name="connsiteY15" fmla="*/ 644112 h 1104011"/>
                <a:gd name="connsiteX16" fmla="*/ 1343088 w 3101461"/>
                <a:gd name="connsiteY16" fmla="*/ 1104012 h 1104011"/>
                <a:gd name="connsiteX17" fmla="*/ 2083529 w 3101461"/>
                <a:gd name="connsiteY17" fmla="*/ 1104012 h 1104011"/>
                <a:gd name="connsiteX18" fmla="*/ 2176068 w 3101461"/>
                <a:gd name="connsiteY18" fmla="*/ 920052 h 1104011"/>
                <a:gd name="connsiteX19" fmla="*/ 1528166 w 3101461"/>
                <a:gd name="connsiteY19" fmla="*/ 920052 h 1104011"/>
                <a:gd name="connsiteX20" fmla="*/ 1528166 w 3101461"/>
                <a:gd name="connsiteY20" fmla="*/ 644112 h 1104011"/>
                <a:gd name="connsiteX21" fmla="*/ 2498815 w 3101461"/>
                <a:gd name="connsiteY21" fmla="*/ 644112 h 1104011"/>
                <a:gd name="connsiteX22" fmla="*/ 2268608 w 3101461"/>
                <a:gd name="connsiteY22" fmla="*/ 1104012 h 1104011"/>
                <a:gd name="connsiteX23" fmla="*/ 2474476 w 3101461"/>
                <a:gd name="connsiteY23" fmla="*/ 1104012 h 1104011"/>
                <a:gd name="connsiteX24" fmla="*/ 2705824 w 3101461"/>
                <a:gd name="connsiteY24" fmla="*/ 644112 h 1104011"/>
                <a:gd name="connsiteX25" fmla="*/ 3101461 w 3101461"/>
                <a:gd name="connsiteY25" fmla="*/ 644112 h 1104011"/>
                <a:gd name="connsiteX26" fmla="*/ 3008922 w 3101461"/>
                <a:gd name="connsiteY26" fmla="*/ 460152 h 110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01461" h="1104011">
                  <a:moveTo>
                    <a:pt x="3008922" y="460152"/>
                  </a:moveTo>
                  <a:lnTo>
                    <a:pt x="602646" y="460152"/>
                  </a:lnTo>
                  <a:lnTo>
                    <a:pt x="510107" y="644112"/>
                  </a:lnTo>
                  <a:lnTo>
                    <a:pt x="880264" y="644112"/>
                  </a:lnTo>
                  <a:lnTo>
                    <a:pt x="880264" y="920052"/>
                  </a:lnTo>
                  <a:lnTo>
                    <a:pt x="552193" y="920052"/>
                  </a:lnTo>
                  <a:cubicBezTo>
                    <a:pt x="349368" y="920052"/>
                    <a:pt x="184191" y="755748"/>
                    <a:pt x="184191" y="552258"/>
                  </a:cubicBezTo>
                  <a:cubicBezTo>
                    <a:pt x="184191" y="348768"/>
                    <a:pt x="349241" y="184086"/>
                    <a:pt x="552193" y="184086"/>
                  </a:cubicBezTo>
                  <a:lnTo>
                    <a:pt x="972550" y="184086"/>
                  </a:lnTo>
                  <a:lnTo>
                    <a:pt x="972550" y="0"/>
                  </a:lnTo>
                  <a:lnTo>
                    <a:pt x="552193" y="0"/>
                  </a:lnTo>
                  <a:cubicBezTo>
                    <a:pt x="247701" y="0"/>
                    <a:pt x="0" y="247716"/>
                    <a:pt x="0" y="552258"/>
                  </a:cubicBezTo>
                  <a:cubicBezTo>
                    <a:pt x="0" y="856800"/>
                    <a:pt x="247701" y="1104012"/>
                    <a:pt x="552193" y="1104012"/>
                  </a:cubicBezTo>
                  <a:lnTo>
                    <a:pt x="1065470" y="1104012"/>
                  </a:lnTo>
                  <a:lnTo>
                    <a:pt x="1065470" y="644112"/>
                  </a:lnTo>
                  <a:lnTo>
                    <a:pt x="1343088" y="644112"/>
                  </a:lnTo>
                  <a:lnTo>
                    <a:pt x="1343088" y="1104012"/>
                  </a:lnTo>
                  <a:lnTo>
                    <a:pt x="2083529" y="1104012"/>
                  </a:lnTo>
                  <a:lnTo>
                    <a:pt x="2176068" y="920052"/>
                  </a:lnTo>
                  <a:lnTo>
                    <a:pt x="1528166" y="920052"/>
                  </a:lnTo>
                  <a:lnTo>
                    <a:pt x="1528166" y="644112"/>
                  </a:lnTo>
                  <a:lnTo>
                    <a:pt x="2498815" y="644112"/>
                  </a:lnTo>
                  <a:lnTo>
                    <a:pt x="2268608" y="1104012"/>
                  </a:lnTo>
                  <a:lnTo>
                    <a:pt x="2474476" y="1104012"/>
                  </a:lnTo>
                  <a:lnTo>
                    <a:pt x="2705824" y="644112"/>
                  </a:lnTo>
                  <a:lnTo>
                    <a:pt x="3101461" y="644112"/>
                  </a:lnTo>
                  <a:lnTo>
                    <a:pt x="3008922" y="46015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8" name="Freihandform 46">
              <a:extLst>
                <a:ext uri="{FF2B5EF4-FFF2-40B4-BE49-F238E27FC236}">
                  <a16:creationId xmlns:a16="http://schemas.microsoft.com/office/drawing/2014/main" id="{F6980514-C5C3-4070-9D53-3F4B40A250FD}"/>
                </a:ext>
              </a:extLst>
            </p:cNvPr>
            <p:cNvSpPr/>
            <p:nvPr/>
          </p:nvSpPr>
          <p:spPr bwMode="invGray">
            <a:xfrm>
              <a:off x="563638" y="272479"/>
              <a:ext cx="182159" cy="80501"/>
            </a:xfrm>
            <a:custGeom>
              <a:avLst/>
              <a:gdLst>
                <a:gd name="connsiteX0" fmla="*/ 185205 w 833107"/>
                <a:gd name="connsiteY0" fmla="*/ 184086 h 368172"/>
                <a:gd name="connsiteX1" fmla="*/ 833107 w 833107"/>
                <a:gd name="connsiteY1" fmla="*/ 184212 h 368172"/>
                <a:gd name="connsiteX2" fmla="*/ 833107 w 833107"/>
                <a:gd name="connsiteY2" fmla="*/ 126 h 368172"/>
                <a:gd name="connsiteX3" fmla="*/ 0 w 833107"/>
                <a:gd name="connsiteY3" fmla="*/ 0 h 368172"/>
                <a:gd name="connsiteX4" fmla="*/ 0 w 833107"/>
                <a:gd name="connsiteY4" fmla="*/ 368172 h 368172"/>
                <a:gd name="connsiteX5" fmla="*/ 185205 w 833107"/>
                <a:gd name="connsiteY5" fmla="*/ 368172 h 36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3107" h="368172">
                  <a:moveTo>
                    <a:pt x="185205" y="184086"/>
                  </a:moveTo>
                  <a:lnTo>
                    <a:pt x="833107" y="184212"/>
                  </a:lnTo>
                  <a:lnTo>
                    <a:pt x="833107" y="126"/>
                  </a:lnTo>
                  <a:lnTo>
                    <a:pt x="0" y="0"/>
                  </a:lnTo>
                  <a:lnTo>
                    <a:pt x="0" y="368172"/>
                  </a:lnTo>
                  <a:lnTo>
                    <a:pt x="185205" y="36817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7" name="Freihandform 13">
              <a:extLst>
                <a:ext uri="{FF2B5EF4-FFF2-40B4-BE49-F238E27FC236}">
                  <a16:creationId xmlns:a16="http://schemas.microsoft.com/office/drawing/2014/main" id="{5F79A0FA-6215-4C9E-88D3-6859B5F32E15}"/>
                </a:ext>
              </a:extLst>
            </p:cNvPr>
            <p:cNvSpPr/>
            <p:nvPr/>
          </p:nvSpPr>
          <p:spPr bwMode="invGray">
            <a:xfrm>
              <a:off x="1130320" y="272535"/>
              <a:ext cx="40440" cy="63502"/>
            </a:xfrm>
            <a:custGeom>
              <a:avLst/>
              <a:gdLst>
                <a:gd name="connsiteX0" fmla="*/ 184952 w 184951"/>
                <a:gd name="connsiteY0" fmla="*/ 252630 h 290429"/>
                <a:gd name="connsiteX1" fmla="*/ 44114 w 184951"/>
                <a:gd name="connsiteY1" fmla="*/ 252630 h 290429"/>
                <a:gd name="connsiteX2" fmla="*/ 44114 w 184951"/>
                <a:gd name="connsiteY2" fmla="*/ 163800 h 290429"/>
                <a:gd name="connsiteX3" fmla="*/ 173669 w 184951"/>
                <a:gd name="connsiteY3" fmla="*/ 163800 h 290429"/>
                <a:gd name="connsiteX4" fmla="*/ 173669 w 184951"/>
                <a:gd name="connsiteY4" fmla="*/ 126252 h 290429"/>
                <a:gd name="connsiteX5" fmla="*/ 44114 w 184951"/>
                <a:gd name="connsiteY5" fmla="*/ 126252 h 290429"/>
                <a:gd name="connsiteX6" fmla="*/ 44114 w 184951"/>
                <a:gd name="connsiteY6" fmla="*/ 37800 h 290429"/>
                <a:gd name="connsiteX7" fmla="*/ 183177 w 184951"/>
                <a:gd name="connsiteY7" fmla="*/ 37800 h 290429"/>
                <a:gd name="connsiteX8" fmla="*/ 183177 w 184951"/>
                <a:gd name="connsiteY8" fmla="*/ 0 h 290429"/>
                <a:gd name="connsiteX9" fmla="*/ 0 w 184951"/>
                <a:gd name="connsiteY9" fmla="*/ 0 h 290429"/>
                <a:gd name="connsiteX10" fmla="*/ 0 w 184951"/>
                <a:gd name="connsiteY10" fmla="*/ 290430 h 290429"/>
                <a:gd name="connsiteX11" fmla="*/ 184952 w 184951"/>
                <a:gd name="connsiteY11" fmla="*/ 290430 h 290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4951" h="290429">
                  <a:moveTo>
                    <a:pt x="184952" y="252630"/>
                  </a:moveTo>
                  <a:lnTo>
                    <a:pt x="44114" y="252630"/>
                  </a:lnTo>
                  <a:lnTo>
                    <a:pt x="44114" y="163800"/>
                  </a:lnTo>
                  <a:lnTo>
                    <a:pt x="173669" y="163800"/>
                  </a:lnTo>
                  <a:lnTo>
                    <a:pt x="173669" y="126252"/>
                  </a:lnTo>
                  <a:lnTo>
                    <a:pt x="44114" y="126252"/>
                  </a:lnTo>
                  <a:lnTo>
                    <a:pt x="44114" y="37800"/>
                  </a:lnTo>
                  <a:lnTo>
                    <a:pt x="183177" y="37800"/>
                  </a:lnTo>
                  <a:lnTo>
                    <a:pt x="183177" y="0"/>
                  </a:lnTo>
                  <a:lnTo>
                    <a:pt x="0" y="0"/>
                  </a:lnTo>
                  <a:lnTo>
                    <a:pt x="0" y="290430"/>
                  </a:lnTo>
                  <a:lnTo>
                    <a:pt x="184952" y="29043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8" name="Freihandform 14">
              <a:extLst>
                <a:ext uri="{FF2B5EF4-FFF2-40B4-BE49-F238E27FC236}">
                  <a16:creationId xmlns:a16="http://schemas.microsoft.com/office/drawing/2014/main" id="{E57EC58B-2D5D-4877-9B03-E31621E4FFDE}"/>
                </a:ext>
              </a:extLst>
            </p:cNvPr>
            <p:cNvSpPr/>
            <p:nvPr/>
          </p:nvSpPr>
          <p:spPr bwMode="invGray">
            <a:xfrm>
              <a:off x="1182623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665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4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9" name="Freihandform 15">
              <a:extLst>
                <a:ext uri="{FF2B5EF4-FFF2-40B4-BE49-F238E27FC236}">
                  <a16:creationId xmlns:a16="http://schemas.microsoft.com/office/drawing/2014/main" id="{3B593BEE-0095-4972-88AF-BE89E168AFD9}"/>
                </a:ext>
              </a:extLst>
            </p:cNvPr>
            <p:cNvSpPr/>
            <p:nvPr/>
          </p:nvSpPr>
          <p:spPr bwMode="invGray">
            <a:xfrm>
              <a:off x="1232902" y="287797"/>
              <a:ext cx="43821" cy="66974"/>
            </a:xfrm>
            <a:custGeom>
              <a:avLst/>
              <a:gdLst>
                <a:gd name="connsiteX0" fmla="*/ 151739 w 200417"/>
                <a:gd name="connsiteY0" fmla="*/ 297738 h 306306"/>
                <a:gd name="connsiteX1" fmla="*/ 187234 w 200417"/>
                <a:gd name="connsiteY1" fmla="*/ 271152 h 306306"/>
                <a:gd name="connsiteX2" fmla="*/ 200417 w 200417"/>
                <a:gd name="connsiteY2" fmla="*/ 225414 h 306306"/>
                <a:gd name="connsiteX3" fmla="*/ 200417 w 200417"/>
                <a:gd name="connsiteY3" fmla="*/ 2772 h 306306"/>
                <a:gd name="connsiteX4" fmla="*/ 158585 w 200417"/>
                <a:gd name="connsiteY4" fmla="*/ 2772 h 306306"/>
                <a:gd name="connsiteX5" fmla="*/ 158585 w 200417"/>
                <a:gd name="connsiteY5" fmla="*/ 38052 h 306306"/>
                <a:gd name="connsiteX6" fmla="*/ 155415 w 200417"/>
                <a:gd name="connsiteY6" fmla="*/ 38052 h 306306"/>
                <a:gd name="connsiteX7" fmla="*/ 144513 w 200417"/>
                <a:gd name="connsiteY7" fmla="*/ 22302 h 306306"/>
                <a:gd name="connsiteX8" fmla="*/ 124865 w 200417"/>
                <a:gd name="connsiteY8" fmla="*/ 6678 h 306306"/>
                <a:gd name="connsiteX9" fmla="*/ 91905 w 200417"/>
                <a:gd name="connsiteY9" fmla="*/ 0 h 306306"/>
                <a:gd name="connsiteX10" fmla="*/ 44622 w 200417"/>
                <a:gd name="connsiteY10" fmla="*/ 13230 h 306306"/>
                <a:gd name="connsiteX11" fmla="*/ 11916 w 200417"/>
                <a:gd name="connsiteY11" fmla="*/ 51282 h 306306"/>
                <a:gd name="connsiteX12" fmla="*/ 0 w 200417"/>
                <a:gd name="connsiteY12" fmla="*/ 110880 h 306306"/>
                <a:gd name="connsiteX13" fmla="*/ 12043 w 200417"/>
                <a:gd name="connsiteY13" fmla="*/ 169344 h 306306"/>
                <a:gd name="connsiteX14" fmla="*/ 44875 w 200417"/>
                <a:gd name="connsiteY14" fmla="*/ 205254 h 306306"/>
                <a:gd name="connsiteX15" fmla="*/ 91525 w 200417"/>
                <a:gd name="connsiteY15" fmla="*/ 217350 h 306306"/>
                <a:gd name="connsiteX16" fmla="*/ 124231 w 200417"/>
                <a:gd name="connsiteY16" fmla="*/ 211050 h 306306"/>
                <a:gd name="connsiteX17" fmla="*/ 144007 w 200417"/>
                <a:gd name="connsiteY17" fmla="*/ 196308 h 306306"/>
                <a:gd name="connsiteX18" fmla="*/ 155035 w 200417"/>
                <a:gd name="connsiteY18" fmla="*/ 180810 h 306306"/>
                <a:gd name="connsiteX19" fmla="*/ 157697 w 200417"/>
                <a:gd name="connsiteY19" fmla="*/ 180810 h 306306"/>
                <a:gd name="connsiteX20" fmla="*/ 157697 w 200417"/>
                <a:gd name="connsiteY20" fmla="*/ 223650 h 306306"/>
                <a:gd name="connsiteX21" fmla="*/ 141851 w 200417"/>
                <a:gd name="connsiteY21" fmla="*/ 260568 h 306306"/>
                <a:gd name="connsiteX22" fmla="*/ 101793 w 200417"/>
                <a:gd name="connsiteY22" fmla="*/ 272160 h 306306"/>
                <a:gd name="connsiteX23" fmla="*/ 72891 w 200417"/>
                <a:gd name="connsiteY23" fmla="*/ 267246 h 306306"/>
                <a:gd name="connsiteX24" fmla="*/ 55270 w 200417"/>
                <a:gd name="connsiteY24" fmla="*/ 255276 h 306306"/>
                <a:gd name="connsiteX25" fmla="*/ 44875 w 200417"/>
                <a:gd name="connsiteY25" fmla="*/ 242424 h 306306"/>
                <a:gd name="connsiteX26" fmla="*/ 8240 w 200417"/>
                <a:gd name="connsiteY26" fmla="*/ 257418 h 306306"/>
                <a:gd name="connsiteX27" fmla="*/ 25860 w 200417"/>
                <a:gd name="connsiteY27" fmla="*/ 281610 h 306306"/>
                <a:gd name="connsiteX28" fmla="*/ 56411 w 200417"/>
                <a:gd name="connsiteY28" fmla="*/ 299502 h 306306"/>
                <a:gd name="connsiteX29" fmla="*/ 101286 w 200417"/>
                <a:gd name="connsiteY29" fmla="*/ 306306 h 306306"/>
                <a:gd name="connsiteX30" fmla="*/ 151739 w 200417"/>
                <a:gd name="connsiteY30" fmla="*/ 297738 h 306306"/>
                <a:gd name="connsiteX31" fmla="*/ 151612 w 200417"/>
                <a:gd name="connsiteY31" fmla="*/ 148932 h 306306"/>
                <a:gd name="connsiteX32" fmla="*/ 132217 w 200417"/>
                <a:gd name="connsiteY32" fmla="*/ 173628 h 306306"/>
                <a:gd name="connsiteX33" fmla="*/ 101033 w 200417"/>
                <a:gd name="connsiteY33" fmla="*/ 182196 h 306306"/>
                <a:gd name="connsiteX34" fmla="*/ 69214 w 200417"/>
                <a:gd name="connsiteY34" fmla="*/ 173124 h 306306"/>
                <a:gd name="connsiteX35" fmla="*/ 49819 w 200417"/>
                <a:gd name="connsiteY35" fmla="*/ 147924 h 306306"/>
                <a:gd name="connsiteX36" fmla="*/ 43227 w 200417"/>
                <a:gd name="connsiteY36" fmla="*/ 110376 h 306306"/>
                <a:gd name="connsiteX37" fmla="*/ 49693 w 200417"/>
                <a:gd name="connsiteY37" fmla="*/ 72702 h 306306"/>
                <a:gd name="connsiteX38" fmla="*/ 68961 w 200417"/>
                <a:gd name="connsiteY38" fmla="*/ 45990 h 306306"/>
                <a:gd name="connsiteX39" fmla="*/ 101033 w 200417"/>
                <a:gd name="connsiteY39" fmla="*/ 36162 h 306306"/>
                <a:gd name="connsiteX40" fmla="*/ 132471 w 200417"/>
                <a:gd name="connsiteY40" fmla="*/ 45612 h 306306"/>
                <a:gd name="connsiteX41" fmla="*/ 151739 w 200417"/>
                <a:gd name="connsiteY41" fmla="*/ 71820 h 306306"/>
                <a:gd name="connsiteX42" fmla="*/ 158331 w 200417"/>
                <a:gd name="connsiteY42" fmla="*/ 110502 h 306306"/>
                <a:gd name="connsiteX43" fmla="*/ 151612 w 200417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417" h="306306">
                  <a:moveTo>
                    <a:pt x="151739" y="297738"/>
                  </a:moveTo>
                  <a:cubicBezTo>
                    <a:pt x="166571" y="291942"/>
                    <a:pt x="178487" y="283122"/>
                    <a:pt x="187234" y="271152"/>
                  </a:cubicBezTo>
                  <a:cubicBezTo>
                    <a:pt x="195980" y="259182"/>
                    <a:pt x="200417" y="243936"/>
                    <a:pt x="200417" y="225414"/>
                  </a:cubicBezTo>
                  <a:lnTo>
                    <a:pt x="200417" y="2772"/>
                  </a:lnTo>
                  <a:lnTo>
                    <a:pt x="158585" y="2772"/>
                  </a:ln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7" y="196308"/>
                  </a:cubicBezTo>
                  <a:cubicBezTo>
                    <a:pt x="148824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3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20048" y="306306"/>
                    <a:pt x="136781" y="303534"/>
                    <a:pt x="151739" y="297738"/>
                  </a:cubicBezTo>
                  <a:close/>
                  <a:moveTo>
                    <a:pt x="151612" y="148932"/>
                  </a:moveTo>
                  <a:cubicBezTo>
                    <a:pt x="147176" y="159642"/>
                    <a:pt x="140711" y="167832"/>
                    <a:pt x="132217" y="173628"/>
                  </a:cubicBezTo>
                  <a:cubicBezTo>
                    <a:pt x="123724" y="179298"/>
                    <a:pt x="113329" y="182196"/>
                    <a:pt x="101033" y="182196"/>
                  </a:cubicBezTo>
                  <a:cubicBezTo>
                    <a:pt x="88356" y="182196"/>
                    <a:pt x="77708" y="179172"/>
                    <a:pt x="69214" y="173124"/>
                  </a:cubicBezTo>
                  <a:cubicBezTo>
                    <a:pt x="60594" y="167076"/>
                    <a:pt x="54129" y="158634"/>
                    <a:pt x="49819" y="147924"/>
                  </a:cubicBezTo>
                  <a:cubicBezTo>
                    <a:pt x="45383" y="137088"/>
                    <a:pt x="43227" y="124614"/>
                    <a:pt x="43227" y="110376"/>
                  </a:cubicBezTo>
                  <a:cubicBezTo>
                    <a:pt x="43227" y="96516"/>
                    <a:pt x="45383" y="83916"/>
                    <a:pt x="49693" y="72702"/>
                  </a:cubicBezTo>
                  <a:cubicBezTo>
                    <a:pt x="54003" y="61488"/>
                    <a:pt x="60468" y="52542"/>
                    <a:pt x="68961" y="45990"/>
                  </a:cubicBezTo>
                  <a:cubicBezTo>
                    <a:pt x="77454" y="39438"/>
                    <a:pt x="88229" y="36162"/>
                    <a:pt x="101033" y="36162"/>
                  </a:cubicBezTo>
                  <a:cubicBezTo>
                    <a:pt x="113456" y="36162"/>
                    <a:pt x="123977" y="39312"/>
                    <a:pt x="132471" y="45612"/>
                  </a:cubicBezTo>
                  <a:cubicBezTo>
                    <a:pt x="140964" y="51912"/>
                    <a:pt x="147302" y="60606"/>
                    <a:pt x="151739" y="71820"/>
                  </a:cubicBezTo>
                  <a:cubicBezTo>
                    <a:pt x="156049" y="83034"/>
                    <a:pt x="158331" y="95886"/>
                    <a:pt x="158331" y="110502"/>
                  </a:cubicBezTo>
                  <a:cubicBezTo>
                    <a:pt x="158204" y="125370"/>
                    <a:pt x="156049" y="138222"/>
                    <a:pt x="151612" y="14893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0" name="Freihandform 16">
              <a:extLst>
                <a:ext uri="{FF2B5EF4-FFF2-40B4-BE49-F238E27FC236}">
                  <a16:creationId xmlns:a16="http://schemas.microsoft.com/office/drawing/2014/main" id="{61DB7D41-1F3C-4577-8DF3-381E205FC7E3}"/>
                </a:ext>
              </a:extLst>
            </p:cNvPr>
            <p:cNvSpPr/>
            <p:nvPr/>
          </p:nvSpPr>
          <p:spPr bwMode="invGray">
            <a:xfrm>
              <a:off x="1288032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3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057" y="48132"/>
                    <a:pt x="19522" y="50652"/>
                    <a:pt x="26874" y="506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1" name="Freihandform 17">
              <a:extLst>
                <a:ext uri="{FF2B5EF4-FFF2-40B4-BE49-F238E27FC236}">
                  <a16:creationId xmlns:a16="http://schemas.microsoft.com/office/drawing/2014/main" id="{5FAB5E34-4947-4A96-B073-3D90C2A47D69}"/>
                </a:ext>
              </a:extLst>
            </p:cNvPr>
            <p:cNvSpPr/>
            <p:nvPr/>
          </p:nvSpPr>
          <p:spPr bwMode="invGray">
            <a:xfrm>
              <a:off x="1289196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2" name="Freihandform 18">
              <a:extLst>
                <a:ext uri="{FF2B5EF4-FFF2-40B4-BE49-F238E27FC236}">
                  <a16:creationId xmlns:a16="http://schemas.microsoft.com/office/drawing/2014/main" id="{E901DCE8-17C4-4D0F-A0D3-C842B85B34DF}"/>
                </a:ext>
              </a:extLst>
            </p:cNvPr>
            <p:cNvSpPr/>
            <p:nvPr/>
          </p:nvSpPr>
          <p:spPr bwMode="invGray">
            <a:xfrm>
              <a:off x="1311148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792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5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3" name="Freihandform 19">
              <a:extLst>
                <a:ext uri="{FF2B5EF4-FFF2-40B4-BE49-F238E27FC236}">
                  <a16:creationId xmlns:a16="http://schemas.microsoft.com/office/drawing/2014/main" id="{7B705228-D5D6-44EB-AB29-6486B6E45C00}"/>
                </a:ext>
              </a:extLst>
            </p:cNvPr>
            <p:cNvSpPr/>
            <p:nvPr/>
          </p:nvSpPr>
          <p:spPr bwMode="invGray">
            <a:xfrm>
              <a:off x="1361400" y="287852"/>
              <a:ext cx="43350" cy="49149"/>
            </a:xfrm>
            <a:custGeom>
              <a:avLst/>
              <a:gdLst>
                <a:gd name="connsiteX0" fmla="*/ 48424 w 198262"/>
                <a:gd name="connsiteY0" fmla="*/ 210924 h 224783"/>
                <a:gd name="connsiteX1" fmla="*/ 104202 w 198262"/>
                <a:gd name="connsiteY1" fmla="*/ 224784 h 224783"/>
                <a:gd name="connsiteX2" fmla="*/ 146922 w 198262"/>
                <a:gd name="connsiteY2" fmla="*/ 217476 h 224783"/>
                <a:gd name="connsiteX3" fmla="*/ 178106 w 198262"/>
                <a:gd name="connsiteY3" fmla="*/ 196938 h 224783"/>
                <a:gd name="connsiteX4" fmla="*/ 195473 w 198262"/>
                <a:gd name="connsiteY4" fmla="*/ 165942 h 224783"/>
                <a:gd name="connsiteX5" fmla="*/ 155162 w 198262"/>
                <a:gd name="connsiteY5" fmla="*/ 158760 h 224783"/>
                <a:gd name="connsiteX6" fmla="*/ 144006 w 198262"/>
                <a:gd name="connsiteY6" fmla="*/ 175896 h 224783"/>
                <a:gd name="connsiteX7" fmla="*/ 126766 w 198262"/>
                <a:gd name="connsiteY7" fmla="*/ 186354 h 224783"/>
                <a:gd name="connsiteX8" fmla="*/ 104709 w 198262"/>
                <a:gd name="connsiteY8" fmla="*/ 189882 h 224783"/>
                <a:gd name="connsiteX9" fmla="*/ 72003 w 198262"/>
                <a:gd name="connsiteY9" fmla="*/ 181818 h 224783"/>
                <a:gd name="connsiteX10" fmla="*/ 50326 w 198262"/>
                <a:gd name="connsiteY10" fmla="*/ 158508 h 224783"/>
                <a:gd name="connsiteX11" fmla="*/ 42847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424 w 198262"/>
                <a:gd name="connsiteY22" fmla="*/ 210924 h 224783"/>
                <a:gd name="connsiteX23" fmla="*/ 49566 w 198262"/>
                <a:gd name="connsiteY23" fmla="*/ 66150 h 224783"/>
                <a:gd name="connsiteX24" fmla="*/ 70102 w 198262"/>
                <a:gd name="connsiteY24" fmla="*/ 43470 h 224783"/>
                <a:gd name="connsiteX25" fmla="*/ 101413 w 198262"/>
                <a:gd name="connsiteY25" fmla="*/ 34776 h 224783"/>
                <a:gd name="connsiteX26" fmla="*/ 130316 w 198262"/>
                <a:gd name="connsiteY26" fmla="*/ 42336 h 224783"/>
                <a:gd name="connsiteX27" fmla="*/ 149457 w 198262"/>
                <a:gd name="connsiteY27" fmla="*/ 62874 h 224783"/>
                <a:gd name="connsiteX28" fmla="*/ 156303 w 198262"/>
                <a:gd name="connsiteY28" fmla="*/ 92610 h 224783"/>
                <a:gd name="connsiteX29" fmla="*/ 42847 w 198262"/>
                <a:gd name="connsiteY29" fmla="*/ 92610 h 224783"/>
                <a:gd name="connsiteX30" fmla="*/ 49566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424" y="210924"/>
                  </a:moveTo>
                  <a:cubicBezTo>
                    <a:pt x="64017" y="220122"/>
                    <a:pt x="82525" y="224784"/>
                    <a:pt x="104202" y="224784"/>
                  </a:cubicBezTo>
                  <a:cubicBezTo>
                    <a:pt x="120174" y="224784"/>
                    <a:pt x="134372" y="222390"/>
                    <a:pt x="146922" y="217476"/>
                  </a:cubicBezTo>
                  <a:cubicBezTo>
                    <a:pt x="159472" y="212562"/>
                    <a:pt x="169867" y="205758"/>
                    <a:pt x="178106" y="196938"/>
                  </a:cubicBezTo>
                  <a:cubicBezTo>
                    <a:pt x="186473" y="188118"/>
                    <a:pt x="192178" y="177786"/>
                    <a:pt x="195473" y="165942"/>
                  </a:cubicBezTo>
                  <a:lnTo>
                    <a:pt x="155162" y="158760"/>
                  </a:lnTo>
                  <a:cubicBezTo>
                    <a:pt x="152626" y="165564"/>
                    <a:pt x="148823" y="171234"/>
                    <a:pt x="144006" y="175896"/>
                  </a:cubicBezTo>
                  <a:cubicBezTo>
                    <a:pt x="139189" y="180558"/>
                    <a:pt x="133358" y="183960"/>
                    <a:pt x="126766" y="186354"/>
                  </a:cubicBezTo>
                  <a:cubicBezTo>
                    <a:pt x="120048" y="188622"/>
                    <a:pt x="112695" y="189882"/>
                    <a:pt x="104709" y="189882"/>
                  </a:cubicBezTo>
                  <a:cubicBezTo>
                    <a:pt x="92286" y="189882"/>
                    <a:pt x="81384" y="187236"/>
                    <a:pt x="72003" y="181818"/>
                  </a:cubicBezTo>
                  <a:cubicBezTo>
                    <a:pt x="62749" y="176526"/>
                    <a:pt x="55397" y="168714"/>
                    <a:pt x="50326" y="158508"/>
                  </a:cubicBezTo>
                  <a:cubicBezTo>
                    <a:pt x="45509" y="149058"/>
                    <a:pt x="43227" y="137592"/>
                    <a:pt x="42847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0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0916" y="188748"/>
                    <a:pt x="32959" y="201726"/>
                    <a:pt x="48424" y="210924"/>
                  </a:cubicBezTo>
                  <a:close/>
                  <a:moveTo>
                    <a:pt x="49566" y="66150"/>
                  </a:moveTo>
                  <a:cubicBezTo>
                    <a:pt x="54382" y="56826"/>
                    <a:pt x="61228" y="49266"/>
                    <a:pt x="70102" y="43470"/>
                  </a:cubicBezTo>
                  <a:cubicBezTo>
                    <a:pt x="78975" y="37674"/>
                    <a:pt x="89370" y="34776"/>
                    <a:pt x="101413" y="34776"/>
                  </a:cubicBezTo>
                  <a:cubicBezTo>
                    <a:pt x="112442" y="34776"/>
                    <a:pt x="122076" y="37296"/>
                    <a:pt x="130316" y="42336"/>
                  </a:cubicBezTo>
                  <a:cubicBezTo>
                    <a:pt x="138555" y="47376"/>
                    <a:pt x="144894" y="54180"/>
                    <a:pt x="149457" y="62874"/>
                  </a:cubicBezTo>
                  <a:cubicBezTo>
                    <a:pt x="154021" y="71568"/>
                    <a:pt x="156303" y="81396"/>
                    <a:pt x="156303" y="92610"/>
                  </a:cubicBezTo>
                  <a:lnTo>
                    <a:pt x="42847" y="92610"/>
                  </a:lnTo>
                  <a:cubicBezTo>
                    <a:pt x="43354" y="83160"/>
                    <a:pt x="45382" y="74340"/>
                    <a:pt x="49566" y="6615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4" name="Freihandform 20">
              <a:extLst>
                <a:ext uri="{FF2B5EF4-FFF2-40B4-BE49-F238E27FC236}">
                  <a16:creationId xmlns:a16="http://schemas.microsoft.com/office/drawing/2014/main" id="{21E22395-C023-4230-9959-623017CB2A5A}"/>
                </a:ext>
              </a:extLst>
            </p:cNvPr>
            <p:cNvSpPr/>
            <p:nvPr/>
          </p:nvSpPr>
          <p:spPr bwMode="invGray">
            <a:xfrm>
              <a:off x="1412954" y="287852"/>
              <a:ext cx="43350" cy="49149"/>
            </a:xfrm>
            <a:custGeom>
              <a:avLst/>
              <a:gdLst>
                <a:gd name="connsiteX0" fmla="*/ 48552 w 198262"/>
                <a:gd name="connsiteY0" fmla="*/ 210924 h 224783"/>
                <a:gd name="connsiteX1" fmla="*/ 104329 w 198262"/>
                <a:gd name="connsiteY1" fmla="*/ 224784 h 224783"/>
                <a:gd name="connsiteX2" fmla="*/ 147049 w 198262"/>
                <a:gd name="connsiteY2" fmla="*/ 217476 h 224783"/>
                <a:gd name="connsiteX3" fmla="*/ 178234 w 198262"/>
                <a:gd name="connsiteY3" fmla="*/ 196938 h 224783"/>
                <a:gd name="connsiteX4" fmla="*/ 195601 w 198262"/>
                <a:gd name="connsiteY4" fmla="*/ 165942 h 224783"/>
                <a:gd name="connsiteX5" fmla="*/ 155289 w 198262"/>
                <a:gd name="connsiteY5" fmla="*/ 158760 h 224783"/>
                <a:gd name="connsiteX6" fmla="*/ 144133 w 198262"/>
                <a:gd name="connsiteY6" fmla="*/ 175896 h 224783"/>
                <a:gd name="connsiteX7" fmla="*/ 126893 w 198262"/>
                <a:gd name="connsiteY7" fmla="*/ 186354 h 224783"/>
                <a:gd name="connsiteX8" fmla="*/ 104836 w 198262"/>
                <a:gd name="connsiteY8" fmla="*/ 189882 h 224783"/>
                <a:gd name="connsiteX9" fmla="*/ 72130 w 198262"/>
                <a:gd name="connsiteY9" fmla="*/ 181818 h 224783"/>
                <a:gd name="connsiteX10" fmla="*/ 50453 w 198262"/>
                <a:gd name="connsiteY10" fmla="*/ 158508 h 224783"/>
                <a:gd name="connsiteX11" fmla="*/ 42974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552 w 198262"/>
                <a:gd name="connsiteY22" fmla="*/ 210924 h 224783"/>
                <a:gd name="connsiteX23" fmla="*/ 49693 w 198262"/>
                <a:gd name="connsiteY23" fmla="*/ 66150 h 224783"/>
                <a:gd name="connsiteX24" fmla="*/ 70229 w 198262"/>
                <a:gd name="connsiteY24" fmla="*/ 43470 h 224783"/>
                <a:gd name="connsiteX25" fmla="*/ 101540 w 198262"/>
                <a:gd name="connsiteY25" fmla="*/ 34776 h 224783"/>
                <a:gd name="connsiteX26" fmla="*/ 130443 w 198262"/>
                <a:gd name="connsiteY26" fmla="*/ 42336 h 224783"/>
                <a:gd name="connsiteX27" fmla="*/ 149584 w 198262"/>
                <a:gd name="connsiteY27" fmla="*/ 62874 h 224783"/>
                <a:gd name="connsiteX28" fmla="*/ 156430 w 198262"/>
                <a:gd name="connsiteY28" fmla="*/ 92610 h 224783"/>
                <a:gd name="connsiteX29" fmla="*/ 42974 w 198262"/>
                <a:gd name="connsiteY29" fmla="*/ 92610 h 224783"/>
                <a:gd name="connsiteX30" fmla="*/ 49693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552" y="210924"/>
                  </a:moveTo>
                  <a:cubicBezTo>
                    <a:pt x="64144" y="220122"/>
                    <a:pt x="82652" y="224784"/>
                    <a:pt x="104329" y="224784"/>
                  </a:cubicBezTo>
                  <a:cubicBezTo>
                    <a:pt x="120301" y="224784"/>
                    <a:pt x="134499" y="222390"/>
                    <a:pt x="147049" y="217476"/>
                  </a:cubicBezTo>
                  <a:cubicBezTo>
                    <a:pt x="159599" y="212562"/>
                    <a:pt x="169993" y="205758"/>
                    <a:pt x="178234" y="196938"/>
                  </a:cubicBezTo>
                  <a:cubicBezTo>
                    <a:pt x="186600" y="188118"/>
                    <a:pt x="192304" y="177786"/>
                    <a:pt x="195601" y="165942"/>
                  </a:cubicBezTo>
                  <a:lnTo>
                    <a:pt x="155289" y="158760"/>
                  </a:lnTo>
                  <a:cubicBezTo>
                    <a:pt x="152753" y="165564"/>
                    <a:pt x="148950" y="171234"/>
                    <a:pt x="144133" y="175896"/>
                  </a:cubicBezTo>
                  <a:cubicBezTo>
                    <a:pt x="139316" y="180558"/>
                    <a:pt x="133485" y="183960"/>
                    <a:pt x="126893" y="186354"/>
                  </a:cubicBezTo>
                  <a:cubicBezTo>
                    <a:pt x="120174" y="188622"/>
                    <a:pt x="112822" y="189882"/>
                    <a:pt x="104836" y="189882"/>
                  </a:cubicBezTo>
                  <a:cubicBezTo>
                    <a:pt x="92413" y="189882"/>
                    <a:pt x="81511" y="187236"/>
                    <a:pt x="72130" y="181818"/>
                  </a:cubicBezTo>
                  <a:cubicBezTo>
                    <a:pt x="62876" y="176526"/>
                    <a:pt x="55524" y="168714"/>
                    <a:pt x="50453" y="158508"/>
                  </a:cubicBezTo>
                  <a:cubicBezTo>
                    <a:pt x="45636" y="149058"/>
                    <a:pt x="43354" y="137592"/>
                    <a:pt x="42974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1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8748"/>
                    <a:pt x="33086" y="201726"/>
                    <a:pt x="48552" y="210924"/>
                  </a:cubicBezTo>
                  <a:close/>
                  <a:moveTo>
                    <a:pt x="49693" y="66150"/>
                  </a:moveTo>
                  <a:cubicBezTo>
                    <a:pt x="54510" y="56826"/>
                    <a:pt x="61355" y="49266"/>
                    <a:pt x="70229" y="43470"/>
                  </a:cubicBezTo>
                  <a:cubicBezTo>
                    <a:pt x="79102" y="37674"/>
                    <a:pt x="89497" y="34776"/>
                    <a:pt x="101540" y="34776"/>
                  </a:cubicBezTo>
                  <a:cubicBezTo>
                    <a:pt x="112568" y="34776"/>
                    <a:pt x="122203" y="37296"/>
                    <a:pt x="130443" y="42336"/>
                  </a:cubicBezTo>
                  <a:cubicBezTo>
                    <a:pt x="138682" y="47376"/>
                    <a:pt x="145021" y="54180"/>
                    <a:pt x="149584" y="62874"/>
                  </a:cubicBezTo>
                  <a:cubicBezTo>
                    <a:pt x="154148" y="71568"/>
                    <a:pt x="156430" y="81396"/>
                    <a:pt x="156430" y="92610"/>
                  </a:cubicBezTo>
                  <a:lnTo>
                    <a:pt x="42974" y="92610"/>
                  </a:lnTo>
                  <a:cubicBezTo>
                    <a:pt x="43481" y="83160"/>
                    <a:pt x="45509" y="74340"/>
                    <a:pt x="49693" y="6615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5" name="Freihandform 21">
              <a:extLst>
                <a:ext uri="{FF2B5EF4-FFF2-40B4-BE49-F238E27FC236}">
                  <a16:creationId xmlns:a16="http://schemas.microsoft.com/office/drawing/2014/main" id="{1E2BB517-8F29-4022-AE5A-40B42F664F3A}"/>
                </a:ext>
              </a:extLst>
            </p:cNvPr>
            <p:cNvSpPr/>
            <p:nvPr/>
          </p:nvSpPr>
          <p:spPr bwMode="invGray">
            <a:xfrm>
              <a:off x="1466698" y="287687"/>
              <a:ext cx="25638" cy="48322"/>
            </a:xfrm>
            <a:custGeom>
              <a:avLst/>
              <a:gdLst>
                <a:gd name="connsiteX0" fmla="*/ 42720 w 117258"/>
                <a:gd name="connsiteY0" fmla="*/ 88074 h 221003"/>
                <a:gd name="connsiteX1" fmla="*/ 49566 w 117258"/>
                <a:gd name="connsiteY1" fmla="*/ 62748 h 221003"/>
                <a:gd name="connsiteX2" fmla="*/ 68200 w 117258"/>
                <a:gd name="connsiteY2" fmla="*/ 45360 h 221003"/>
                <a:gd name="connsiteX3" fmla="*/ 95075 w 117258"/>
                <a:gd name="connsiteY3" fmla="*/ 39060 h 221003"/>
                <a:gd name="connsiteX4" fmla="*/ 108132 w 117258"/>
                <a:gd name="connsiteY4" fmla="*/ 39942 h 221003"/>
                <a:gd name="connsiteX5" fmla="*/ 117259 w 117258"/>
                <a:gd name="connsiteY5" fmla="*/ 41580 h 221003"/>
                <a:gd name="connsiteX6" fmla="*/ 117259 w 117258"/>
                <a:gd name="connsiteY6" fmla="*/ 1008 h 221003"/>
                <a:gd name="connsiteX7" fmla="*/ 108639 w 117258"/>
                <a:gd name="connsiteY7" fmla="*/ 252 h 221003"/>
                <a:gd name="connsiteX8" fmla="*/ 99131 w 117258"/>
                <a:gd name="connsiteY8" fmla="*/ 0 h 221003"/>
                <a:gd name="connsiteX9" fmla="*/ 64651 w 117258"/>
                <a:gd name="connsiteY9" fmla="*/ 10080 h 221003"/>
                <a:gd name="connsiteX10" fmla="*/ 43481 w 117258"/>
                <a:gd name="connsiteY10" fmla="*/ 37800 h 221003"/>
                <a:gd name="connsiteX11" fmla="*/ 41199 w 117258"/>
                <a:gd name="connsiteY11" fmla="*/ 37800 h 221003"/>
                <a:gd name="connsiteX12" fmla="*/ 41199 w 117258"/>
                <a:gd name="connsiteY12" fmla="*/ 3276 h 221003"/>
                <a:gd name="connsiteX13" fmla="*/ 0 w 117258"/>
                <a:gd name="connsiteY13" fmla="*/ 3276 h 221003"/>
                <a:gd name="connsiteX14" fmla="*/ 0 w 117258"/>
                <a:gd name="connsiteY14" fmla="*/ 221004 h 221003"/>
                <a:gd name="connsiteX15" fmla="*/ 42720 w 117258"/>
                <a:gd name="connsiteY15" fmla="*/ 221004 h 221003"/>
                <a:gd name="connsiteX16" fmla="*/ 42720 w 117258"/>
                <a:gd name="connsiteY16" fmla="*/ 88074 h 22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3">
                  <a:moveTo>
                    <a:pt x="42720" y="88074"/>
                  </a:move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6" name="Freihandform 22">
              <a:extLst>
                <a:ext uri="{FF2B5EF4-FFF2-40B4-BE49-F238E27FC236}">
                  <a16:creationId xmlns:a16="http://schemas.microsoft.com/office/drawing/2014/main" id="{0C728F05-57FE-4401-8837-450B15131652}"/>
                </a:ext>
              </a:extLst>
            </p:cNvPr>
            <p:cNvSpPr/>
            <p:nvPr/>
          </p:nvSpPr>
          <p:spPr bwMode="invGray">
            <a:xfrm>
              <a:off x="1500430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7" name="Freihandform 23">
              <a:extLst>
                <a:ext uri="{FF2B5EF4-FFF2-40B4-BE49-F238E27FC236}">
                  <a16:creationId xmlns:a16="http://schemas.microsoft.com/office/drawing/2014/main" id="{139BA451-36CE-4C7D-8CDD-B97DEAC6048F}"/>
                </a:ext>
              </a:extLst>
            </p:cNvPr>
            <p:cNvSpPr/>
            <p:nvPr/>
          </p:nvSpPr>
          <p:spPr bwMode="invGray">
            <a:xfrm>
              <a:off x="1499266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4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184" y="48132"/>
                    <a:pt x="19522" y="50652"/>
                    <a:pt x="26874" y="506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8" name="Freihandform 24">
              <a:extLst>
                <a:ext uri="{FF2B5EF4-FFF2-40B4-BE49-F238E27FC236}">
                  <a16:creationId xmlns:a16="http://schemas.microsoft.com/office/drawing/2014/main" id="{249EBBFB-F3E2-46CC-A091-037BADCC2169}"/>
                </a:ext>
              </a:extLst>
            </p:cNvPr>
            <p:cNvSpPr/>
            <p:nvPr/>
          </p:nvSpPr>
          <p:spPr bwMode="invGray">
            <a:xfrm>
              <a:off x="1522355" y="287769"/>
              <a:ext cx="39941" cy="48267"/>
            </a:xfrm>
            <a:custGeom>
              <a:avLst/>
              <a:gdLst>
                <a:gd name="connsiteX0" fmla="*/ 182670 w 182670"/>
                <a:gd name="connsiteY0" fmla="*/ 220752 h 220751"/>
                <a:gd name="connsiteX1" fmla="*/ 182670 w 182670"/>
                <a:gd name="connsiteY1" fmla="*/ 82152 h 220751"/>
                <a:gd name="connsiteX2" fmla="*/ 173416 w 182670"/>
                <a:gd name="connsiteY2" fmla="*/ 36918 h 220751"/>
                <a:gd name="connsiteX3" fmla="*/ 147303 w 182670"/>
                <a:gd name="connsiteY3" fmla="*/ 9324 h 220751"/>
                <a:gd name="connsiteX4" fmla="*/ 108132 w 182670"/>
                <a:gd name="connsiteY4" fmla="*/ 0 h 220751"/>
                <a:gd name="connsiteX5" fmla="*/ 67313 w 182670"/>
                <a:gd name="connsiteY5" fmla="*/ 10458 h 220751"/>
                <a:gd name="connsiteX6" fmla="*/ 43608 w 182670"/>
                <a:gd name="connsiteY6" fmla="*/ 38304 h 220751"/>
                <a:gd name="connsiteX7" fmla="*/ 40946 w 182670"/>
                <a:gd name="connsiteY7" fmla="*/ 38304 h 220751"/>
                <a:gd name="connsiteX8" fmla="*/ 40946 w 182670"/>
                <a:gd name="connsiteY8" fmla="*/ 2898 h 220751"/>
                <a:gd name="connsiteX9" fmla="*/ 0 w 182670"/>
                <a:gd name="connsiteY9" fmla="*/ 2898 h 220751"/>
                <a:gd name="connsiteX10" fmla="*/ 0 w 182670"/>
                <a:gd name="connsiteY10" fmla="*/ 220626 h 220751"/>
                <a:gd name="connsiteX11" fmla="*/ 42721 w 182670"/>
                <a:gd name="connsiteY11" fmla="*/ 220626 h 220751"/>
                <a:gd name="connsiteX12" fmla="*/ 42721 w 182670"/>
                <a:gd name="connsiteY12" fmla="*/ 91350 h 220751"/>
                <a:gd name="connsiteX13" fmla="*/ 49312 w 182670"/>
                <a:gd name="connsiteY13" fmla="*/ 61740 h 220751"/>
                <a:gd name="connsiteX14" fmla="*/ 67440 w 182670"/>
                <a:gd name="connsiteY14" fmla="*/ 43092 h 220751"/>
                <a:gd name="connsiteX15" fmla="*/ 93807 w 182670"/>
                <a:gd name="connsiteY15" fmla="*/ 36666 h 220751"/>
                <a:gd name="connsiteX16" fmla="*/ 127907 w 182670"/>
                <a:gd name="connsiteY16" fmla="*/ 50022 h 220751"/>
                <a:gd name="connsiteX17" fmla="*/ 140330 w 182670"/>
                <a:gd name="connsiteY17" fmla="*/ 87066 h 220751"/>
                <a:gd name="connsiteX18" fmla="*/ 140330 w 182670"/>
                <a:gd name="connsiteY18" fmla="*/ 220500 h 220751"/>
                <a:gd name="connsiteX19" fmla="*/ 182670 w 182670"/>
                <a:gd name="connsiteY19" fmla="*/ 220500 h 220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751">
                  <a:moveTo>
                    <a:pt x="182670" y="220752"/>
                  </a:moveTo>
                  <a:lnTo>
                    <a:pt x="182670" y="82152"/>
                  </a:lnTo>
                  <a:cubicBezTo>
                    <a:pt x="182670" y="64260"/>
                    <a:pt x="179628" y="49140"/>
                    <a:pt x="173416" y="36918"/>
                  </a:cubicBezTo>
                  <a:cubicBezTo>
                    <a:pt x="167205" y="24696"/>
                    <a:pt x="158585" y="15498"/>
                    <a:pt x="147303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2" y="26712"/>
                    <a:pt x="43608" y="38304"/>
                  </a:cubicBezTo>
                  <a:lnTo>
                    <a:pt x="40946" y="38304"/>
                  </a:lnTo>
                  <a:lnTo>
                    <a:pt x="40946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1" y="220626"/>
                  </a:lnTo>
                  <a:lnTo>
                    <a:pt x="42721" y="91350"/>
                  </a:lnTo>
                  <a:cubicBezTo>
                    <a:pt x="42721" y="79884"/>
                    <a:pt x="44875" y="69930"/>
                    <a:pt x="49312" y="61740"/>
                  </a:cubicBezTo>
                  <a:cubicBezTo>
                    <a:pt x="53749" y="53550"/>
                    <a:pt x="59707" y="47376"/>
                    <a:pt x="67440" y="43092"/>
                  </a:cubicBezTo>
                  <a:cubicBezTo>
                    <a:pt x="75173" y="38808"/>
                    <a:pt x="83920" y="36666"/>
                    <a:pt x="93807" y="36666"/>
                  </a:cubicBezTo>
                  <a:cubicBezTo>
                    <a:pt x="108258" y="36666"/>
                    <a:pt x="119667" y="41076"/>
                    <a:pt x="127907" y="50022"/>
                  </a:cubicBezTo>
                  <a:cubicBezTo>
                    <a:pt x="136147" y="58968"/>
                    <a:pt x="140330" y="71316"/>
                    <a:pt x="140330" y="87066"/>
                  </a:cubicBezTo>
                  <a:lnTo>
                    <a:pt x="140330" y="220500"/>
                  </a:lnTo>
                  <a:lnTo>
                    <a:pt x="182670" y="22050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9" name="Freihandform 25">
              <a:extLst>
                <a:ext uri="{FF2B5EF4-FFF2-40B4-BE49-F238E27FC236}">
                  <a16:creationId xmlns:a16="http://schemas.microsoft.com/office/drawing/2014/main" id="{DCDE3BF8-38D7-49D1-99BC-C197D071097F}"/>
                </a:ext>
              </a:extLst>
            </p:cNvPr>
            <p:cNvSpPr/>
            <p:nvPr/>
          </p:nvSpPr>
          <p:spPr bwMode="invGray">
            <a:xfrm>
              <a:off x="1572634" y="287797"/>
              <a:ext cx="43766" cy="66974"/>
            </a:xfrm>
            <a:custGeom>
              <a:avLst/>
              <a:gdLst>
                <a:gd name="connsiteX0" fmla="*/ 158585 w 200163"/>
                <a:gd name="connsiteY0" fmla="*/ 2772 h 306306"/>
                <a:gd name="connsiteX1" fmla="*/ 158585 w 200163"/>
                <a:gd name="connsiteY1" fmla="*/ 38052 h 306306"/>
                <a:gd name="connsiteX2" fmla="*/ 155415 w 200163"/>
                <a:gd name="connsiteY2" fmla="*/ 38052 h 306306"/>
                <a:gd name="connsiteX3" fmla="*/ 144513 w 200163"/>
                <a:gd name="connsiteY3" fmla="*/ 22302 h 306306"/>
                <a:gd name="connsiteX4" fmla="*/ 124865 w 200163"/>
                <a:gd name="connsiteY4" fmla="*/ 6678 h 306306"/>
                <a:gd name="connsiteX5" fmla="*/ 91905 w 200163"/>
                <a:gd name="connsiteY5" fmla="*/ 0 h 306306"/>
                <a:gd name="connsiteX6" fmla="*/ 44622 w 200163"/>
                <a:gd name="connsiteY6" fmla="*/ 13230 h 306306"/>
                <a:gd name="connsiteX7" fmla="*/ 11916 w 200163"/>
                <a:gd name="connsiteY7" fmla="*/ 51282 h 306306"/>
                <a:gd name="connsiteX8" fmla="*/ 0 w 200163"/>
                <a:gd name="connsiteY8" fmla="*/ 110880 h 306306"/>
                <a:gd name="connsiteX9" fmla="*/ 12043 w 200163"/>
                <a:gd name="connsiteY9" fmla="*/ 169344 h 306306"/>
                <a:gd name="connsiteX10" fmla="*/ 44875 w 200163"/>
                <a:gd name="connsiteY10" fmla="*/ 205254 h 306306"/>
                <a:gd name="connsiteX11" fmla="*/ 91525 w 200163"/>
                <a:gd name="connsiteY11" fmla="*/ 217350 h 306306"/>
                <a:gd name="connsiteX12" fmla="*/ 124231 w 200163"/>
                <a:gd name="connsiteY12" fmla="*/ 211050 h 306306"/>
                <a:gd name="connsiteX13" fmla="*/ 144006 w 200163"/>
                <a:gd name="connsiteY13" fmla="*/ 196308 h 306306"/>
                <a:gd name="connsiteX14" fmla="*/ 155035 w 200163"/>
                <a:gd name="connsiteY14" fmla="*/ 180810 h 306306"/>
                <a:gd name="connsiteX15" fmla="*/ 157697 w 200163"/>
                <a:gd name="connsiteY15" fmla="*/ 180810 h 306306"/>
                <a:gd name="connsiteX16" fmla="*/ 157697 w 200163"/>
                <a:gd name="connsiteY16" fmla="*/ 223650 h 306306"/>
                <a:gd name="connsiteX17" fmla="*/ 141851 w 200163"/>
                <a:gd name="connsiteY17" fmla="*/ 260568 h 306306"/>
                <a:gd name="connsiteX18" fmla="*/ 101793 w 200163"/>
                <a:gd name="connsiteY18" fmla="*/ 272160 h 306306"/>
                <a:gd name="connsiteX19" fmla="*/ 72891 w 200163"/>
                <a:gd name="connsiteY19" fmla="*/ 267246 h 306306"/>
                <a:gd name="connsiteX20" fmla="*/ 55270 w 200163"/>
                <a:gd name="connsiteY20" fmla="*/ 255276 h 306306"/>
                <a:gd name="connsiteX21" fmla="*/ 44875 w 200163"/>
                <a:gd name="connsiteY21" fmla="*/ 242424 h 306306"/>
                <a:gd name="connsiteX22" fmla="*/ 8240 w 200163"/>
                <a:gd name="connsiteY22" fmla="*/ 257418 h 306306"/>
                <a:gd name="connsiteX23" fmla="*/ 25860 w 200163"/>
                <a:gd name="connsiteY23" fmla="*/ 281610 h 306306"/>
                <a:gd name="connsiteX24" fmla="*/ 56411 w 200163"/>
                <a:gd name="connsiteY24" fmla="*/ 299502 h 306306"/>
                <a:gd name="connsiteX25" fmla="*/ 101286 w 200163"/>
                <a:gd name="connsiteY25" fmla="*/ 306306 h 306306"/>
                <a:gd name="connsiteX26" fmla="*/ 151486 w 200163"/>
                <a:gd name="connsiteY26" fmla="*/ 297612 h 306306"/>
                <a:gd name="connsiteX27" fmla="*/ 186980 w 200163"/>
                <a:gd name="connsiteY27" fmla="*/ 271026 h 306306"/>
                <a:gd name="connsiteX28" fmla="*/ 200164 w 200163"/>
                <a:gd name="connsiteY28" fmla="*/ 225288 h 306306"/>
                <a:gd name="connsiteX29" fmla="*/ 200164 w 200163"/>
                <a:gd name="connsiteY29" fmla="*/ 2772 h 306306"/>
                <a:gd name="connsiteX30" fmla="*/ 158585 w 200163"/>
                <a:gd name="connsiteY30" fmla="*/ 2772 h 306306"/>
                <a:gd name="connsiteX31" fmla="*/ 151739 w 200163"/>
                <a:gd name="connsiteY31" fmla="*/ 148932 h 306306"/>
                <a:gd name="connsiteX32" fmla="*/ 132344 w 200163"/>
                <a:gd name="connsiteY32" fmla="*/ 173628 h 306306"/>
                <a:gd name="connsiteX33" fmla="*/ 101160 w 200163"/>
                <a:gd name="connsiteY33" fmla="*/ 182196 h 306306"/>
                <a:gd name="connsiteX34" fmla="*/ 69341 w 200163"/>
                <a:gd name="connsiteY34" fmla="*/ 173124 h 306306"/>
                <a:gd name="connsiteX35" fmla="*/ 49946 w 200163"/>
                <a:gd name="connsiteY35" fmla="*/ 147924 h 306306"/>
                <a:gd name="connsiteX36" fmla="*/ 43354 w 200163"/>
                <a:gd name="connsiteY36" fmla="*/ 110376 h 306306"/>
                <a:gd name="connsiteX37" fmla="*/ 49819 w 200163"/>
                <a:gd name="connsiteY37" fmla="*/ 72702 h 306306"/>
                <a:gd name="connsiteX38" fmla="*/ 69088 w 200163"/>
                <a:gd name="connsiteY38" fmla="*/ 45990 h 306306"/>
                <a:gd name="connsiteX39" fmla="*/ 101160 w 200163"/>
                <a:gd name="connsiteY39" fmla="*/ 36162 h 306306"/>
                <a:gd name="connsiteX40" fmla="*/ 132597 w 200163"/>
                <a:gd name="connsiteY40" fmla="*/ 45612 h 306306"/>
                <a:gd name="connsiteX41" fmla="*/ 151866 w 200163"/>
                <a:gd name="connsiteY41" fmla="*/ 71820 h 306306"/>
                <a:gd name="connsiteX42" fmla="*/ 158458 w 200163"/>
                <a:gd name="connsiteY42" fmla="*/ 110502 h 306306"/>
                <a:gd name="connsiteX43" fmla="*/ 151739 w 200163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163" h="306306">
                  <a:moveTo>
                    <a:pt x="158585" y="2772"/>
                  </a:move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6" y="196308"/>
                  </a:cubicBezTo>
                  <a:cubicBezTo>
                    <a:pt x="148823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2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19921" y="306306"/>
                    <a:pt x="136654" y="303408"/>
                    <a:pt x="151486" y="297612"/>
                  </a:cubicBezTo>
                  <a:cubicBezTo>
                    <a:pt x="166317" y="291816"/>
                    <a:pt x="178233" y="282996"/>
                    <a:pt x="186980" y="271026"/>
                  </a:cubicBezTo>
                  <a:cubicBezTo>
                    <a:pt x="195727" y="259056"/>
                    <a:pt x="200164" y="243810"/>
                    <a:pt x="200164" y="225288"/>
                  </a:cubicBezTo>
                  <a:lnTo>
                    <a:pt x="200164" y="2772"/>
                  </a:lnTo>
                  <a:lnTo>
                    <a:pt x="158585" y="2772"/>
                  </a:lnTo>
                  <a:close/>
                  <a:moveTo>
                    <a:pt x="151739" y="148932"/>
                  </a:moveTo>
                  <a:cubicBezTo>
                    <a:pt x="147302" y="159642"/>
                    <a:pt x="140837" y="167832"/>
                    <a:pt x="132344" y="173628"/>
                  </a:cubicBezTo>
                  <a:cubicBezTo>
                    <a:pt x="123850" y="179298"/>
                    <a:pt x="113456" y="182196"/>
                    <a:pt x="101160" y="182196"/>
                  </a:cubicBezTo>
                  <a:cubicBezTo>
                    <a:pt x="88483" y="182196"/>
                    <a:pt x="77834" y="179172"/>
                    <a:pt x="69341" y="173124"/>
                  </a:cubicBezTo>
                  <a:cubicBezTo>
                    <a:pt x="60848" y="167076"/>
                    <a:pt x="54256" y="158634"/>
                    <a:pt x="49946" y="147924"/>
                  </a:cubicBezTo>
                  <a:cubicBezTo>
                    <a:pt x="45509" y="137088"/>
                    <a:pt x="43354" y="124614"/>
                    <a:pt x="43354" y="110376"/>
                  </a:cubicBezTo>
                  <a:cubicBezTo>
                    <a:pt x="43354" y="96516"/>
                    <a:pt x="45509" y="83916"/>
                    <a:pt x="49819" y="72702"/>
                  </a:cubicBezTo>
                  <a:cubicBezTo>
                    <a:pt x="54129" y="61488"/>
                    <a:pt x="60594" y="52542"/>
                    <a:pt x="69088" y="45990"/>
                  </a:cubicBezTo>
                  <a:cubicBezTo>
                    <a:pt x="77581" y="39438"/>
                    <a:pt x="88356" y="36162"/>
                    <a:pt x="101160" y="36162"/>
                  </a:cubicBezTo>
                  <a:cubicBezTo>
                    <a:pt x="113582" y="36162"/>
                    <a:pt x="124104" y="39312"/>
                    <a:pt x="132597" y="45612"/>
                  </a:cubicBezTo>
                  <a:cubicBezTo>
                    <a:pt x="141091" y="51912"/>
                    <a:pt x="147429" y="60606"/>
                    <a:pt x="151866" y="71820"/>
                  </a:cubicBezTo>
                  <a:cubicBezTo>
                    <a:pt x="156176" y="83034"/>
                    <a:pt x="158458" y="95886"/>
                    <a:pt x="158458" y="110502"/>
                  </a:cubicBezTo>
                  <a:cubicBezTo>
                    <a:pt x="158331" y="125370"/>
                    <a:pt x="156176" y="138222"/>
                    <a:pt x="151739" y="14893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0" name="Freihandform 26">
              <a:extLst>
                <a:ext uri="{FF2B5EF4-FFF2-40B4-BE49-F238E27FC236}">
                  <a16:creationId xmlns:a16="http://schemas.microsoft.com/office/drawing/2014/main" id="{D35E5E15-C461-4439-AC18-BA347E8E9B02}"/>
                </a:ext>
              </a:extLst>
            </p:cNvPr>
            <p:cNvSpPr/>
            <p:nvPr/>
          </p:nvSpPr>
          <p:spPr bwMode="invGray">
            <a:xfrm>
              <a:off x="1125303" y="358490"/>
              <a:ext cx="29408" cy="66478"/>
            </a:xfrm>
            <a:custGeom>
              <a:avLst/>
              <a:gdLst>
                <a:gd name="connsiteX0" fmla="*/ 33974 w 134499"/>
                <a:gd name="connsiteY0" fmla="*/ 304038 h 304038"/>
                <a:gd name="connsiteX1" fmla="*/ 76567 w 134499"/>
                <a:gd name="connsiteY1" fmla="*/ 304038 h 304038"/>
                <a:gd name="connsiteX2" fmla="*/ 76567 w 134499"/>
                <a:gd name="connsiteY2" fmla="*/ 120204 h 304038"/>
                <a:gd name="connsiteX3" fmla="*/ 123851 w 134499"/>
                <a:gd name="connsiteY3" fmla="*/ 120204 h 304038"/>
                <a:gd name="connsiteX4" fmla="*/ 123851 w 134499"/>
                <a:gd name="connsiteY4" fmla="*/ 86184 h 304038"/>
                <a:gd name="connsiteX5" fmla="*/ 76567 w 134499"/>
                <a:gd name="connsiteY5" fmla="*/ 86184 h 304038"/>
                <a:gd name="connsiteX6" fmla="*/ 76567 w 134499"/>
                <a:gd name="connsiteY6" fmla="*/ 66654 h 304038"/>
                <a:gd name="connsiteX7" fmla="*/ 83159 w 134499"/>
                <a:gd name="connsiteY7" fmla="*/ 44478 h 304038"/>
                <a:gd name="connsiteX8" fmla="*/ 105343 w 134499"/>
                <a:gd name="connsiteY8" fmla="*/ 36792 h 304038"/>
                <a:gd name="connsiteX9" fmla="*/ 116752 w 134499"/>
                <a:gd name="connsiteY9" fmla="*/ 38052 h 304038"/>
                <a:gd name="connsiteX10" fmla="*/ 124484 w 134499"/>
                <a:gd name="connsiteY10" fmla="*/ 40068 h 304038"/>
                <a:gd name="connsiteX11" fmla="*/ 134499 w 134499"/>
                <a:gd name="connsiteY11" fmla="*/ 5796 h 304038"/>
                <a:gd name="connsiteX12" fmla="*/ 120935 w 134499"/>
                <a:gd name="connsiteY12" fmla="*/ 2016 h 304038"/>
                <a:gd name="connsiteX13" fmla="*/ 99005 w 134499"/>
                <a:gd name="connsiteY13" fmla="*/ 0 h 304038"/>
                <a:gd name="connsiteX14" fmla="*/ 66806 w 134499"/>
                <a:gd name="connsiteY14" fmla="*/ 6804 h 304038"/>
                <a:gd name="connsiteX15" fmla="*/ 42974 w 134499"/>
                <a:gd name="connsiteY15" fmla="*/ 27090 h 304038"/>
                <a:gd name="connsiteX16" fmla="*/ 33974 w 134499"/>
                <a:gd name="connsiteY16" fmla="*/ 60984 h 304038"/>
                <a:gd name="connsiteX17" fmla="*/ 33974 w 134499"/>
                <a:gd name="connsiteY17" fmla="*/ 86184 h 304038"/>
                <a:gd name="connsiteX18" fmla="*/ 0 w 134499"/>
                <a:gd name="connsiteY18" fmla="*/ 86184 h 304038"/>
                <a:gd name="connsiteX19" fmla="*/ 0 w 134499"/>
                <a:gd name="connsiteY19" fmla="*/ 120204 h 304038"/>
                <a:gd name="connsiteX20" fmla="*/ 33974 w 134499"/>
                <a:gd name="connsiteY20" fmla="*/ 120204 h 304038"/>
                <a:gd name="connsiteX21" fmla="*/ 33974 w 134499"/>
                <a:gd name="connsiteY21" fmla="*/ 304038 h 304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4499" h="304038">
                  <a:moveTo>
                    <a:pt x="33974" y="304038"/>
                  </a:moveTo>
                  <a:lnTo>
                    <a:pt x="76567" y="304038"/>
                  </a:lnTo>
                  <a:lnTo>
                    <a:pt x="76567" y="120204"/>
                  </a:lnTo>
                  <a:lnTo>
                    <a:pt x="123851" y="120204"/>
                  </a:lnTo>
                  <a:lnTo>
                    <a:pt x="123851" y="86184"/>
                  </a:lnTo>
                  <a:lnTo>
                    <a:pt x="76567" y="86184"/>
                  </a:lnTo>
                  <a:lnTo>
                    <a:pt x="76567" y="66654"/>
                  </a:lnTo>
                  <a:cubicBezTo>
                    <a:pt x="76567" y="56952"/>
                    <a:pt x="78849" y="49644"/>
                    <a:pt x="83159" y="44478"/>
                  </a:cubicBezTo>
                  <a:cubicBezTo>
                    <a:pt x="87595" y="39438"/>
                    <a:pt x="94948" y="36792"/>
                    <a:pt x="105343" y="36792"/>
                  </a:cubicBezTo>
                  <a:cubicBezTo>
                    <a:pt x="109780" y="36792"/>
                    <a:pt x="113583" y="37170"/>
                    <a:pt x="116752" y="38052"/>
                  </a:cubicBezTo>
                  <a:cubicBezTo>
                    <a:pt x="119921" y="38808"/>
                    <a:pt x="122456" y="39564"/>
                    <a:pt x="124484" y="40068"/>
                  </a:cubicBezTo>
                  <a:lnTo>
                    <a:pt x="134499" y="5796"/>
                  </a:lnTo>
                  <a:cubicBezTo>
                    <a:pt x="131583" y="4662"/>
                    <a:pt x="127020" y="3402"/>
                    <a:pt x="120935" y="2016"/>
                  </a:cubicBezTo>
                  <a:cubicBezTo>
                    <a:pt x="114851" y="630"/>
                    <a:pt x="107498" y="0"/>
                    <a:pt x="99005" y="0"/>
                  </a:cubicBezTo>
                  <a:cubicBezTo>
                    <a:pt x="87469" y="0"/>
                    <a:pt x="76694" y="2268"/>
                    <a:pt x="66806" y="6804"/>
                  </a:cubicBezTo>
                  <a:cubicBezTo>
                    <a:pt x="56918" y="11340"/>
                    <a:pt x="48932" y="18018"/>
                    <a:pt x="42974" y="27090"/>
                  </a:cubicBezTo>
                  <a:cubicBezTo>
                    <a:pt x="37016" y="36162"/>
                    <a:pt x="33974" y="47376"/>
                    <a:pt x="33974" y="60984"/>
                  </a:cubicBezTo>
                  <a:lnTo>
                    <a:pt x="33974" y="86184"/>
                  </a:lnTo>
                  <a:lnTo>
                    <a:pt x="0" y="86184"/>
                  </a:lnTo>
                  <a:lnTo>
                    <a:pt x="0" y="120204"/>
                  </a:lnTo>
                  <a:lnTo>
                    <a:pt x="33974" y="120204"/>
                  </a:lnTo>
                  <a:lnTo>
                    <a:pt x="33974" y="30403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1" name="Freihandform 27">
              <a:extLst>
                <a:ext uri="{FF2B5EF4-FFF2-40B4-BE49-F238E27FC236}">
                  <a16:creationId xmlns:a16="http://schemas.microsoft.com/office/drawing/2014/main" id="{6C5BF7EA-6C05-489E-9BEF-0CFEC8C016FB}"/>
                </a:ext>
              </a:extLst>
            </p:cNvPr>
            <p:cNvSpPr/>
            <p:nvPr/>
          </p:nvSpPr>
          <p:spPr bwMode="invGray">
            <a:xfrm>
              <a:off x="1159174" y="376728"/>
              <a:ext cx="44625" cy="49176"/>
            </a:xfrm>
            <a:custGeom>
              <a:avLst/>
              <a:gdLst>
                <a:gd name="connsiteX0" fmla="*/ 204094 w 204093"/>
                <a:gd name="connsiteY0" fmla="*/ 112644 h 224909"/>
                <a:gd name="connsiteX1" fmla="*/ 191417 w 204093"/>
                <a:gd name="connsiteY1" fmla="*/ 53424 h 224909"/>
                <a:gd name="connsiteX2" fmla="*/ 155796 w 204093"/>
                <a:gd name="connsiteY2" fmla="*/ 13986 h 224909"/>
                <a:gd name="connsiteX3" fmla="*/ 102047 w 204093"/>
                <a:gd name="connsiteY3" fmla="*/ 0 h 224909"/>
                <a:gd name="connsiteX4" fmla="*/ 48298 w 204093"/>
                <a:gd name="connsiteY4" fmla="*/ 13986 h 224909"/>
                <a:gd name="connsiteX5" fmla="*/ 12677 w 204093"/>
                <a:gd name="connsiteY5" fmla="*/ 53424 h 224909"/>
                <a:gd name="connsiteX6" fmla="*/ 0 w 204093"/>
                <a:gd name="connsiteY6" fmla="*/ 112644 h 224909"/>
                <a:gd name="connsiteX7" fmla="*/ 12677 w 204093"/>
                <a:gd name="connsiteY7" fmla="*/ 171612 h 224909"/>
                <a:gd name="connsiteX8" fmla="*/ 48298 w 204093"/>
                <a:gd name="connsiteY8" fmla="*/ 210924 h 224909"/>
                <a:gd name="connsiteX9" fmla="*/ 102047 w 204093"/>
                <a:gd name="connsiteY9" fmla="*/ 224910 h 224909"/>
                <a:gd name="connsiteX10" fmla="*/ 155796 w 204093"/>
                <a:gd name="connsiteY10" fmla="*/ 210924 h 224909"/>
                <a:gd name="connsiteX11" fmla="*/ 191417 w 204093"/>
                <a:gd name="connsiteY11" fmla="*/ 171612 h 224909"/>
                <a:gd name="connsiteX12" fmla="*/ 204094 w 204093"/>
                <a:gd name="connsiteY12" fmla="*/ 112644 h 224909"/>
                <a:gd name="connsiteX13" fmla="*/ 154655 w 204093"/>
                <a:gd name="connsiteY13" fmla="*/ 150948 h 224909"/>
                <a:gd name="connsiteX14" fmla="*/ 135133 w 204093"/>
                <a:gd name="connsiteY14" fmla="*/ 178920 h 224909"/>
                <a:gd name="connsiteX15" fmla="*/ 102047 w 204093"/>
                <a:gd name="connsiteY15" fmla="*/ 189378 h 224909"/>
                <a:gd name="connsiteX16" fmla="*/ 68707 w 204093"/>
                <a:gd name="connsiteY16" fmla="*/ 178920 h 224909"/>
                <a:gd name="connsiteX17" fmla="*/ 49185 w 204093"/>
                <a:gd name="connsiteY17" fmla="*/ 150948 h 224909"/>
                <a:gd name="connsiteX18" fmla="*/ 42847 w 204093"/>
                <a:gd name="connsiteY18" fmla="*/ 112518 h 224909"/>
                <a:gd name="connsiteX19" fmla="*/ 49185 w 204093"/>
                <a:gd name="connsiteY19" fmla="*/ 74214 h 224909"/>
                <a:gd name="connsiteX20" fmla="*/ 68707 w 204093"/>
                <a:gd name="connsiteY20" fmla="*/ 46116 h 224909"/>
                <a:gd name="connsiteX21" fmla="*/ 102047 w 204093"/>
                <a:gd name="connsiteY21" fmla="*/ 35532 h 224909"/>
                <a:gd name="connsiteX22" fmla="*/ 135133 w 204093"/>
                <a:gd name="connsiteY22" fmla="*/ 46116 h 224909"/>
                <a:gd name="connsiteX23" fmla="*/ 154655 w 204093"/>
                <a:gd name="connsiteY23" fmla="*/ 74214 h 224909"/>
                <a:gd name="connsiteX24" fmla="*/ 160993 w 204093"/>
                <a:gd name="connsiteY24" fmla="*/ 112518 h 224909"/>
                <a:gd name="connsiteX25" fmla="*/ 154655 w 204093"/>
                <a:gd name="connsiteY25" fmla="*/ 150948 h 22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09">
                  <a:moveTo>
                    <a:pt x="204094" y="112644"/>
                  </a:moveTo>
                  <a:cubicBezTo>
                    <a:pt x="204094" y="90090"/>
                    <a:pt x="199911" y="70308"/>
                    <a:pt x="191417" y="53424"/>
                  </a:cubicBezTo>
                  <a:cubicBezTo>
                    <a:pt x="182924" y="36540"/>
                    <a:pt x="171008" y="23436"/>
                    <a:pt x="155796" y="13986"/>
                  </a:cubicBez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7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4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7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1" y="154854"/>
                    <a:pt x="204094" y="135198"/>
                    <a:pt x="204094" y="112644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10" y="189378"/>
                    <a:pt x="77581" y="185850"/>
                    <a:pt x="68707" y="178920"/>
                  </a:cubicBezTo>
                  <a:cubicBezTo>
                    <a:pt x="59961" y="171990"/>
                    <a:pt x="53369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9" y="62496"/>
                    <a:pt x="59961" y="53172"/>
                    <a:pt x="68707" y="46116"/>
                  </a:cubicBezTo>
                  <a:cubicBezTo>
                    <a:pt x="77454" y="39060"/>
                    <a:pt x="88610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2" name="Freihandform 28">
              <a:extLst>
                <a:ext uri="{FF2B5EF4-FFF2-40B4-BE49-F238E27FC236}">
                  <a16:creationId xmlns:a16="http://schemas.microsoft.com/office/drawing/2014/main" id="{6EFBF79A-4A51-48BF-89A7-AA431ACDE9A8}"/>
                </a:ext>
              </a:extLst>
            </p:cNvPr>
            <p:cNvSpPr/>
            <p:nvPr/>
          </p:nvSpPr>
          <p:spPr bwMode="invGray">
            <a:xfrm>
              <a:off x="1213472" y="376618"/>
              <a:ext cx="25638" cy="48323"/>
            </a:xfrm>
            <a:custGeom>
              <a:avLst/>
              <a:gdLst>
                <a:gd name="connsiteX0" fmla="*/ 41199 w 117258"/>
                <a:gd name="connsiteY0" fmla="*/ 3276 h 221004"/>
                <a:gd name="connsiteX1" fmla="*/ 0 w 117258"/>
                <a:gd name="connsiteY1" fmla="*/ 3276 h 221004"/>
                <a:gd name="connsiteX2" fmla="*/ 0 w 117258"/>
                <a:gd name="connsiteY2" fmla="*/ 221004 h 221004"/>
                <a:gd name="connsiteX3" fmla="*/ 42720 w 117258"/>
                <a:gd name="connsiteY3" fmla="*/ 221004 h 221004"/>
                <a:gd name="connsiteX4" fmla="*/ 42720 w 117258"/>
                <a:gd name="connsiteY4" fmla="*/ 88074 h 221004"/>
                <a:gd name="connsiteX5" fmla="*/ 49565 w 117258"/>
                <a:gd name="connsiteY5" fmla="*/ 62748 h 221004"/>
                <a:gd name="connsiteX6" fmla="*/ 68200 w 117258"/>
                <a:gd name="connsiteY6" fmla="*/ 45360 h 221004"/>
                <a:gd name="connsiteX7" fmla="*/ 95075 w 117258"/>
                <a:gd name="connsiteY7" fmla="*/ 39060 h 221004"/>
                <a:gd name="connsiteX8" fmla="*/ 108132 w 117258"/>
                <a:gd name="connsiteY8" fmla="*/ 39942 h 221004"/>
                <a:gd name="connsiteX9" fmla="*/ 117259 w 117258"/>
                <a:gd name="connsiteY9" fmla="*/ 41580 h 221004"/>
                <a:gd name="connsiteX10" fmla="*/ 117259 w 117258"/>
                <a:gd name="connsiteY10" fmla="*/ 1008 h 221004"/>
                <a:gd name="connsiteX11" fmla="*/ 108638 w 117258"/>
                <a:gd name="connsiteY11" fmla="*/ 252 h 221004"/>
                <a:gd name="connsiteX12" fmla="*/ 99131 w 117258"/>
                <a:gd name="connsiteY12" fmla="*/ 0 h 221004"/>
                <a:gd name="connsiteX13" fmla="*/ 64650 w 117258"/>
                <a:gd name="connsiteY13" fmla="*/ 10080 h 221004"/>
                <a:gd name="connsiteX14" fmla="*/ 43481 w 117258"/>
                <a:gd name="connsiteY14" fmla="*/ 37800 h 221004"/>
                <a:gd name="connsiteX15" fmla="*/ 41199 w 117258"/>
                <a:gd name="connsiteY15" fmla="*/ 37800 h 221004"/>
                <a:gd name="connsiteX16" fmla="*/ 41199 w 117258"/>
                <a:gd name="connsiteY16" fmla="*/ 3276 h 221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4">
                  <a:moveTo>
                    <a:pt x="41199" y="3276"/>
                  </a:move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5" y="62748"/>
                  </a:cubicBezTo>
                  <a:cubicBezTo>
                    <a:pt x="54129" y="55314"/>
                    <a:pt x="60340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1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8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0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3" name="Freihandform 29">
              <a:extLst>
                <a:ext uri="{FF2B5EF4-FFF2-40B4-BE49-F238E27FC236}">
                  <a16:creationId xmlns:a16="http://schemas.microsoft.com/office/drawing/2014/main" id="{87888852-2BFD-4EEE-8AB2-7E8FD59E1AB6}"/>
                </a:ext>
              </a:extLst>
            </p:cNvPr>
            <p:cNvSpPr/>
            <p:nvPr/>
          </p:nvSpPr>
          <p:spPr bwMode="invGray">
            <a:xfrm>
              <a:off x="1266856" y="376728"/>
              <a:ext cx="39857" cy="49314"/>
            </a:xfrm>
            <a:custGeom>
              <a:avLst/>
              <a:gdLst>
                <a:gd name="connsiteX0" fmla="*/ 152627 w 182289"/>
                <a:gd name="connsiteY0" fmla="*/ 14112 h 225539"/>
                <a:gd name="connsiteX1" fmla="*/ 124992 w 182289"/>
                <a:gd name="connsiteY1" fmla="*/ 3024 h 225539"/>
                <a:gd name="connsiteX2" fmla="*/ 97103 w 182289"/>
                <a:gd name="connsiteY2" fmla="*/ 0 h 225539"/>
                <a:gd name="connsiteX3" fmla="*/ 59326 w 182289"/>
                <a:gd name="connsiteY3" fmla="*/ 5544 h 225539"/>
                <a:gd name="connsiteX4" fmla="*/ 27635 w 182289"/>
                <a:gd name="connsiteY4" fmla="*/ 23436 h 225539"/>
                <a:gd name="connsiteX5" fmla="*/ 6719 w 182289"/>
                <a:gd name="connsiteY5" fmla="*/ 55566 h 225539"/>
                <a:gd name="connsiteX6" fmla="*/ 46777 w 182289"/>
                <a:gd name="connsiteY6" fmla="*/ 64638 h 225539"/>
                <a:gd name="connsiteX7" fmla="*/ 63890 w 182289"/>
                <a:gd name="connsiteY7" fmla="*/ 43722 h 225539"/>
                <a:gd name="connsiteX8" fmla="*/ 97737 w 182289"/>
                <a:gd name="connsiteY8" fmla="*/ 34272 h 225539"/>
                <a:gd name="connsiteX9" fmla="*/ 128921 w 182289"/>
                <a:gd name="connsiteY9" fmla="*/ 44478 h 225539"/>
                <a:gd name="connsiteX10" fmla="*/ 139443 w 182289"/>
                <a:gd name="connsiteY10" fmla="*/ 73332 h 225539"/>
                <a:gd name="connsiteX11" fmla="*/ 139443 w 182289"/>
                <a:gd name="connsiteY11" fmla="*/ 74340 h 225539"/>
                <a:gd name="connsiteX12" fmla="*/ 133865 w 182289"/>
                <a:gd name="connsiteY12" fmla="*/ 85428 h 225539"/>
                <a:gd name="connsiteX13" fmla="*/ 115991 w 182289"/>
                <a:gd name="connsiteY13" fmla="*/ 90342 h 225539"/>
                <a:gd name="connsiteX14" fmla="*/ 84046 w 182289"/>
                <a:gd name="connsiteY14" fmla="*/ 94122 h 225539"/>
                <a:gd name="connsiteX15" fmla="*/ 53495 w 182289"/>
                <a:gd name="connsiteY15" fmla="*/ 99540 h 225539"/>
                <a:gd name="connsiteX16" fmla="*/ 26368 w 182289"/>
                <a:gd name="connsiteY16" fmla="*/ 109998 h 225539"/>
                <a:gd name="connsiteX17" fmla="*/ 7099 w 182289"/>
                <a:gd name="connsiteY17" fmla="*/ 128898 h 225539"/>
                <a:gd name="connsiteX18" fmla="*/ 0 w 182289"/>
                <a:gd name="connsiteY18" fmla="*/ 159264 h 225539"/>
                <a:gd name="connsiteX19" fmla="*/ 9761 w 182289"/>
                <a:gd name="connsiteY19" fmla="*/ 195426 h 225539"/>
                <a:gd name="connsiteX20" fmla="*/ 36382 w 182289"/>
                <a:gd name="connsiteY20" fmla="*/ 217854 h 225539"/>
                <a:gd name="connsiteX21" fmla="*/ 74031 w 182289"/>
                <a:gd name="connsiteY21" fmla="*/ 225540 h 225539"/>
                <a:gd name="connsiteX22" fmla="*/ 105089 w 182289"/>
                <a:gd name="connsiteY22" fmla="*/ 220248 h 225539"/>
                <a:gd name="connsiteX23" fmla="*/ 126386 w 182289"/>
                <a:gd name="connsiteY23" fmla="*/ 207018 h 225539"/>
                <a:gd name="connsiteX24" fmla="*/ 138809 w 182289"/>
                <a:gd name="connsiteY24" fmla="*/ 190890 h 225539"/>
                <a:gd name="connsiteX25" fmla="*/ 140584 w 182289"/>
                <a:gd name="connsiteY25" fmla="*/ 190890 h 225539"/>
                <a:gd name="connsiteX26" fmla="*/ 140584 w 182289"/>
                <a:gd name="connsiteY26" fmla="*/ 220626 h 225539"/>
                <a:gd name="connsiteX27" fmla="*/ 182290 w 182289"/>
                <a:gd name="connsiteY27" fmla="*/ 220626 h 225539"/>
                <a:gd name="connsiteX28" fmla="*/ 182290 w 182289"/>
                <a:gd name="connsiteY28" fmla="*/ 75978 h 225539"/>
                <a:gd name="connsiteX29" fmla="*/ 173923 w 182289"/>
                <a:gd name="connsiteY29" fmla="*/ 37170 h 225539"/>
                <a:gd name="connsiteX30" fmla="*/ 152627 w 182289"/>
                <a:gd name="connsiteY30" fmla="*/ 14112 h 225539"/>
                <a:gd name="connsiteX31" fmla="*/ 139443 w 182289"/>
                <a:gd name="connsiteY31" fmla="*/ 142002 h 225539"/>
                <a:gd name="connsiteX32" fmla="*/ 132851 w 182289"/>
                <a:gd name="connsiteY32" fmla="*/ 166194 h 225539"/>
                <a:gd name="connsiteX33" fmla="*/ 113582 w 182289"/>
                <a:gd name="connsiteY33" fmla="*/ 184464 h 225539"/>
                <a:gd name="connsiteX34" fmla="*/ 83285 w 182289"/>
                <a:gd name="connsiteY34" fmla="*/ 191394 h 225539"/>
                <a:gd name="connsiteX35" fmla="*/ 53495 w 182289"/>
                <a:gd name="connsiteY35" fmla="*/ 183330 h 225539"/>
                <a:gd name="connsiteX36" fmla="*/ 41833 w 182289"/>
                <a:gd name="connsiteY36" fmla="*/ 159642 h 225539"/>
                <a:gd name="connsiteX37" fmla="*/ 47918 w 182289"/>
                <a:gd name="connsiteY37" fmla="*/ 141372 h 225539"/>
                <a:gd name="connsiteX38" fmla="*/ 64144 w 182289"/>
                <a:gd name="connsiteY38" fmla="*/ 130788 h 225539"/>
                <a:gd name="connsiteX39" fmla="*/ 86708 w 182289"/>
                <a:gd name="connsiteY39" fmla="*/ 125496 h 225539"/>
                <a:gd name="connsiteX40" fmla="*/ 99892 w 182289"/>
                <a:gd name="connsiteY40" fmla="*/ 123732 h 225539"/>
                <a:gd name="connsiteX41" fmla="*/ 115991 w 182289"/>
                <a:gd name="connsiteY41" fmla="*/ 121338 h 225539"/>
                <a:gd name="connsiteX42" fmla="*/ 130823 w 182289"/>
                <a:gd name="connsiteY42" fmla="*/ 118062 h 225539"/>
                <a:gd name="connsiteX43" fmla="*/ 139570 w 182289"/>
                <a:gd name="connsiteY43" fmla="*/ 113904 h 225539"/>
                <a:gd name="connsiteX44" fmla="*/ 139570 w 182289"/>
                <a:gd name="connsiteY44" fmla="*/ 142002 h 225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82289" h="225539">
                  <a:moveTo>
                    <a:pt x="152627" y="14112"/>
                  </a:moveTo>
                  <a:cubicBezTo>
                    <a:pt x="144007" y="8694"/>
                    <a:pt x="134753" y="5040"/>
                    <a:pt x="124992" y="3024"/>
                  </a:cubicBezTo>
                  <a:cubicBezTo>
                    <a:pt x="115104" y="1008"/>
                    <a:pt x="105850" y="0"/>
                    <a:pt x="97103" y="0"/>
                  </a:cubicBezTo>
                  <a:cubicBezTo>
                    <a:pt x="83919" y="0"/>
                    <a:pt x="71243" y="1890"/>
                    <a:pt x="59326" y="5544"/>
                  </a:cubicBezTo>
                  <a:cubicBezTo>
                    <a:pt x="47411" y="9324"/>
                    <a:pt x="36762" y="15246"/>
                    <a:pt x="27635" y="23436"/>
                  </a:cubicBezTo>
                  <a:cubicBezTo>
                    <a:pt x="18508" y="31626"/>
                    <a:pt x="11536" y="42336"/>
                    <a:pt x="6719" y="55566"/>
                  </a:cubicBezTo>
                  <a:lnTo>
                    <a:pt x="46777" y="64638"/>
                  </a:lnTo>
                  <a:cubicBezTo>
                    <a:pt x="49946" y="56952"/>
                    <a:pt x="55651" y="50022"/>
                    <a:pt x="63890" y="43722"/>
                  </a:cubicBezTo>
                  <a:cubicBezTo>
                    <a:pt x="72130" y="37422"/>
                    <a:pt x="83412" y="34272"/>
                    <a:pt x="97737" y="34272"/>
                  </a:cubicBezTo>
                  <a:cubicBezTo>
                    <a:pt x="111554" y="34272"/>
                    <a:pt x="121949" y="37674"/>
                    <a:pt x="128921" y="44478"/>
                  </a:cubicBezTo>
                  <a:cubicBezTo>
                    <a:pt x="135893" y="51282"/>
                    <a:pt x="139443" y="60858"/>
                    <a:pt x="139443" y="73332"/>
                  </a:cubicBezTo>
                  <a:lnTo>
                    <a:pt x="139443" y="74340"/>
                  </a:lnTo>
                  <a:cubicBezTo>
                    <a:pt x="139443" y="79380"/>
                    <a:pt x="137668" y="83160"/>
                    <a:pt x="133865" y="85428"/>
                  </a:cubicBezTo>
                  <a:cubicBezTo>
                    <a:pt x="130189" y="87696"/>
                    <a:pt x="124231" y="89334"/>
                    <a:pt x="115991" y="90342"/>
                  </a:cubicBezTo>
                  <a:cubicBezTo>
                    <a:pt x="107751" y="91350"/>
                    <a:pt x="97103" y="92610"/>
                    <a:pt x="84046" y="94122"/>
                  </a:cubicBezTo>
                  <a:cubicBezTo>
                    <a:pt x="73651" y="95382"/>
                    <a:pt x="63510" y="97146"/>
                    <a:pt x="53495" y="99540"/>
                  </a:cubicBezTo>
                  <a:cubicBezTo>
                    <a:pt x="43481" y="101934"/>
                    <a:pt x="34480" y="105462"/>
                    <a:pt x="26368" y="109998"/>
                  </a:cubicBezTo>
                  <a:cubicBezTo>
                    <a:pt x="18254" y="114660"/>
                    <a:pt x="11916" y="120960"/>
                    <a:pt x="7099" y="128898"/>
                  </a:cubicBezTo>
                  <a:cubicBezTo>
                    <a:pt x="2409" y="136836"/>
                    <a:pt x="0" y="146916"/>
                    <a:pt x="0" y="159264"/>
                  </a:cubicBezTo>
                  <a:cubicBezTo>
                    <a:pt x="0" y="173502"/>
                    <a:pt x="3296" y="185598"/>
                    <a:pt x="9761" y="195426"/>
                  </a:cubicBezTo>
                  <a:cubicBezTo>
                    <a:pt x="16226" y="205254"/>
                    <a:pt x="25100" y="212688"/>
                    <a:pt x="36382" y="217854"/>
                  </a:cubicBezTo>
                  <a:cubicBezTo>
                    <a:pt x="47664" y="223020"/>
                    <a:pt x="60087" y="225540"/>
                    <a:pt x="74031" y="225540"/>
                  </a:cubicBezTo>
                  <a:cubicBezTo>
                    <a:pt x="86074" y="225540"/>
                    <a:pt x="96469" y="223776"/>
                    <a:pt x="105089" y="220248"/>
                  </a:cubicBezTo>
                  <a:cubicBezTo>
                    <a:pt x="113709" y="216720"/>
                    <a:pt x="120808" y="212310"/>
                    <a:pt x="126386" y="207018"/>
                  </a:cubicBezTo>
                  <a:cubicBezTo>
                    <a:pt x="131837" y="201726"/>
                    <a:pt x="136020" y="196308"/>
                    <a:pt x="138809" y="190890"/>
                  </a:cubicBezTo>
                  <a:lnTo>
                    <a:pt x="140584" y="190890"/>
                  </a:lnTo>
                  <a:lnTo>
                    <a:pt x="140584" y="220626"/>
                  </a:lnTo>
                  <a:lnTo>
                    <a:pt x="182290" y="220626"/>
                  </a:lnTo>
                  <a:lnTo>
                    <a:pt x="182290" y="75978"/>
                  </a:lnTo>
                  <a:cubicBezTo>
                    <a:pt x="182290" y="60102"/>
                    <a:pt x="179501" y="47124"/>
                    <a:pt x="173923" y="37170"/>
                  </a:cubicBezTo>
                  <a:cubicBezTo>
                    <a:pt x="168219" y="27216"/>
                    <a:pt x="161247" y="19530"/>
                    <a:pt x="152627" y="14112"/>
                  </a:cubicBezTo>
                  <a:close/>
                  <a:moveTo>
                    <a:pt x="139443" y="142002"/>
                  </a:moveTo>
                  <a:cubicBezTo>
                    <a:pt x="139443" y="150570"/>
                    <a:pt x="137161" y="158634"/>
                    <a:pt x="132851" y="166194"/>
                  </a:cubicBezTo>
                  <a:cubicBezTo>
                    <a:pt x="128414" y="173754"/>
                    <a:pt x="122076" y="179802"/>
                    <a:pt x="113582" y="184464"/>
                  </a:cubicBezTo>
                  <a:cubicBezTo>
                    <a:pt x="105216" y="189126"/>
                    <a:pt x="95075" y="191394"/>
                    <a:pt x="83285" y="191394"/>
                  </a:cubicBezTo>
                  <a:cubicBezTo>
                    <a:pt x="71243" y="191394"/>
                    <a:pt x="61228" y="188748"/>
                    <a:pt x="53495" y="183330"/>
                  </a:cubicBezTo>
                  <a:cubicBezTo>
                    <a:pt x="45636" y="178038"/>
                    <a:pt x="41833" y="170100"/>
                    <a:pt x="41833" y="159642"/>
                  </a:cubicBezTo>
                  <a:cubicBezTo>
                    <a:pt x="41833" y="152082"/>
                    <a:pt x="43861" y="146034"/>
                    <a:pt x="47918" y="141372"/>
                  </a:cubicBezTo>
                  <a:cubicBezTo>
                    <a:pt x="51974" y="136836"/>
                    <a:pt x="57425" y="133308"/>
                    <a:pt x="64144" y="130788"/>
                  </a:cubicBezTo>
                  <a:cubicBezTo>
                    <a:pt x="70989" y="128394"/>
                    <a:pt x="78468" y="126630"/>
                    <a:pt x="86708" y="125496"/>
                  </a:cubicBezTo>
                  <a:cubicBezTo>
                    <a:pt x="90257" y="124992"/>
                    <a:pt x="94567" y="124488"/>
                    <a:pt x="99892" y="123732"/>
                  </a:cubicBezTo>
                  <a:cubicBezTo>
                    <a:pt x="105089" y="122976"/>
                    <a:pt x="110540" y="122220"/>
                    <a:pt x="115991" y="121338"/>
                  </a:cubicBezTo>
                  <a:cubicBezTo>
                    <a:pt x="121442" y="120456"/>
                    <a:pt x="126386" y="119322"/>
                    <a:pt x="130823" y="118062"/>
                  </a:cubicBezTo>
                  <a:cubicBezTo>
                    <a:pt x="135133" y="116802"/>
                    <a:pt x="138049" y="115416"/>
                    <a:pt x="139570" y="113904"/>
                  </a:cubicBezTo>
                  <a:lnTo>
                    <a:pt x="139570" y="14200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4" name="Freihandform 30">
              <a:extLst>
                <a:ext uri="{FF2B5EF4-FFF2-40B4-BE49-F238E27FC236}">
                  <a16:creationId xmlns:a16="http://schemas.microsoft.com/office/drawing/2014/main" id="{4CD6FB8B-DE54-4690-B9D4-F6C26DA2CE2C}"/>
                </a:ext>
              </a:extLst>
            </p:cNvPr>
            <p:cNvSpPr/>
            <p:nvPr/>
          </p:nvSpPr>
          <p:spPr bwMode="invGray">
            <a:xfrm>
              <a:off x="1341693" y="361466"/>
              <a:ext cx="43766" cy="64412"/>
            </a:xfrm>
            <a:custGeom>
              <a:avLst/>
              <a:gdLst>
                <a:gd name="connsiteX0" fmla="*/ 155415 w 200163"/>
                <a:gd name="connsiteY0" fmla="*/ 83034 h 294588"/>
                <a:gd name="connsiteX1" fmla="*/ 108132 w 200163"/>
                <a:gd name="connsiteY1" fmla="*/ 69678 h 294588"/>
                <a:gd name="connsiteX2" fmla="*/ 75299 w 200163"/>
                <a:gd name="connsiteY2" fmla="*/ 76356 h 294588"/>
                <a:gd name="connsiteX3" fmla="*/ 55904 w 200163"/>
                <a:gd name="connsiteY3" fmla="*/ 91980 h 294588"/>
                <a:gd name="connsiteX4" fmla="*/ 45129 w 200163"/>
                <a:gd name="connsiteY4" fmla="*/ 107730 h 294588"/>
                <a:gd name="connsiteX5" fmla="*/ 42594 w 200163"/>
                <a:gd name="connsiteY5" fmla="*/ 107730 h 294588"/>
                <a:gd name="connsiteX6" fmla="*/ 42594 w 200163"/>
                <a:gd name="connsiteY6" fmla="*/ 0 h 294588"/>
                <a:gd name="connsiteX7" fmla="*/ 0 w 200163"/>
                <a:gd name="connsiteY7" fmla="*/ 0 h 294588"/>
                <a:gd name="connsiteX8" fmla="*/ 0 w 200163"/>
                <a:gd name="connsiteY8" fmla="*/ 290304 h 294588"/>
                <a:gd name="connsiteX9" fmla="*/ 41579 w 200163"/>
                <a:gd name="connsiteY9" fmla="*/ 290304 h 294588"/>
                <a:gd name="connsiteX10" fmla="*/ 41579 w 200163"/>
                <a:gd name="connsiteY10" fmla="*/ 256410 h 294588"/>
                <a:gd name="connsiteX11" fmla="*/ 45129 w 200163"/>
                <a:gd name="connsiteY11" fmla="*/ 256410 h 294588"/>
                <a:gd name="connsiteX12" fmla="*/ 56157 w 200163"/>
                <a:gd name="connsiteY12" fmla="*/ 272286 h 294588"/>
                <a:gd name="connsiteX13" fmla="*/ 75933 w 200163"/>
                <a:gd name="connsiteY13" fmla="*/ 287910 h 294588"/>
                <a:gd name="connsiteX14" fmla="*/ 108512 w 200163"/>
                <a:gd name="connsiteY14" fmla="*/ 294588 h 294588"/>
                <a:gd name="connsiteX15" fmla="*/ 155796 w 200163"/>
                <a:gd name="connsiteY15" fmla="*/ 281106 h 294588"/>
                <a:gd name="connsiteX16" fmla="*/ 188375 w 200163"/>
                <a:gd name="connsiteY16" fmla="*/ 242424 h 294588"/>
                <a:gd name="connsiteX17" fmla="*/ 200164 w 200163"/>
                <a:gd name="connsiteY17" fmla="*/ 181944 h 294588"/>
                <a:gd name="connsiteX18" fmla="*/ 188248 w 200163"/>
                <a:gd name="connsiteY18" fmla="*/ 121590 h 294588"/>
                <a:gd name="connsiteX19" fmla="*/ 155415 w 200163"/>
                <a:gd name="connsiteY19" fmla="*/ 83034 h 294588"/>
                <a:gd name="connsiteX20" fmla="*/ 150345 w 200163"/>
                <a:gd name="connsiteY20" fmla="*/ 220752 h 294588"/>
                <a:gd name="connsiteX21" fmla="*/ 130823 w 200163"/>
                <a:gd name="connsiteY21" fmla="*/ 248346 h 294588"/>
                <a:gd name="connsiteX22" fmla="*/ 98878 w 200163"/>
                <a:gd name="connsiteY22" fmla="*/ 258426 h 294588"/>
                <a:gd name="connsiteX23" fmla="*/ 67820 w 200163"/>
                <a:gd name="connsiteY23" fmla="*/ 248724 h 294588"/>
                <a:gd name="connsiteX24" fmla="*/ 48425 w 200163"/>
                <a:gd name="connsiteY24" fmla="*/ 221760 h 294588"/>
                <a:gd name="connsiteX25" fmla="*/ 41706 w 200163"/>
                <a:gd name="connsiteY25" fmla="*/ 181440 h 294588"/>
                <a:gd name="connsiteX26" fmla="*/ 48298 w 200163"/>
                <a:gd name="connsiteY26" fmla="*/ 141750 h 294588"/>
                <a:gd name="connsiteX27" fmla="*/ 67567 w 200163"/>
                <a:gd name="connsiteY27" fmla="*/ 115290 h 294588"/>
                <a:gd name="connsiteX28" fmla="*/ 98878 w 200163"/>
                <a:gd name="connsiteY28" fmla="*/ 105840 h 294588"/>
                <a:gd name="connsiteX29" fmla="*/ 131076 w 200163"/>
                <a:gd name="connsiteY29" fmla="*/ 115794 h 294588"/>
                <a:gd name="connsiteX30" fmla="*/ 150471 w 200163"/>
                <a:gd name="connsiteY30" fmla="*/ 142884 h 294588"/>
                <a:gd name="connsiteX31" fmla="*/ 156937 w 200163"/>
                <a:gd name="connsiteY31" fmla="*/ 181566 h 294588"/>
                <a:gd name="connsiteX32" fmla="*/ 150345 w 200163"/>
                <a:gd name="connsiteY32" fmla="*/ 220752 h 29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163" h="294588">
                  <a:moveTo>
                    <a:pt x="155415" y="83034"/>
                  </a:moveTo>
                  <a:cubicBezTo>
                    <a:pt x="141598" y="74214"/>
                    <a:pt x="125752" y="69678"/>
                    <a:pt x="108132" y="69678"/>
                  </a:cubicBezTo>
                  <a:cubicBezTo>
                    <a:pt x="94567" y="69678"/>
                    <a:pt x="83539" y="71946"/>
                    <a:pt x="75299" y="76356"/>
                  </a:cubicBezTo>
                  <a:cubicBezTo>
                    <a:pt x="66933" y="80892"/>
                    <a:pt x="60468" y="86058"/>
                    <a:pt x="55904" y="91980"/>
                  </a:cubicBezTo>
                  <a:cubicBezTo>
                    <a:pt x="51214" y="97902"/>
                    <a:pt x="47664" y="103194"/>
                    <a:pt x="45129" y="107730"/>
                  </a:cubicBezTo>
                  <a:lnTo>
                    <a:pt x="42594" y="107730"/>
                  </a:lnTo>
                  <a:lnTo>
                    <a:pt x="42594" y="0"/>
                  </a:lnTo>
                  <a:lnTo>
                    <a:pt x="0" y="0"/>
                  </a:lnTo>
                  <a:lnTo>
                    <a:pt x="0" y="290304"/>
                  </a:lnTo>
                  <a:lnTo>
                    <a:pt x="41579" y="290304"/>
                  </a:lnTo>
                  <a:lnTo>
                    <a:pt x="41579" y="256410"/>
                  </a:lnTo>
                  <a:lnTo>
                    <a:pt x="45129" y="256410"/>
                  </a:lnTo>
                  <a:cubicBezTo>
                    <a:pt x="47664" y="261072"/>
                    <a:pt x="51341" y="266364"/>
                    <a:pt x="56157" y="272286"/>
                  </a:cubicBezTo>
                  <a:cubicBezTo>
                    <a:pt x="60848" y="278208"/>
                    <a:pt x="67567" y="283500"/>
                    <a:pt x="75933" y="287910"/>
                  </a:cubicBezTo>
                  <a:cubicBezTo>
                    <a:pt x="84299" y="292320"/>
                    <a:pt x="95202" y="294588"/>
                    <a:pt x="108512" y="294588"/>
                  </a:cubicBezTo>
                  <a:cubicBezTo>
                    <a:pt x="126133" y="294588"/>
                    <a:pt x="141978" y="290052"/>
                    <a:pt x="155796" y="281106"/>
                  </a:cubicBezTo>
                  <a:cubicBezTo>
                    <a:pt x="169613" y="272034"/>
                    <a:pt x="180388" y="259182"/>
                    <a:pt x="188375" y="242424"/>
                  </a:cubicBezTo>
                  <a:cubicBezTo>
                    <a:pt x="196234" y="225666"/>
                    <a:pt x="200164" y="205506"/>
                    <a:pt x="200164" y="181944"/>
                  </a:cubicBezTo>
                  <a:cubicBezTo>
                    <a:pt x="200164" y="158382"/>
                    <a:pt x="196234" y="138222"/>
                    <a:pt x="188248" y="121590"/>
                  </a:cubicBezTo>
                  <a:cubicBezTo>
                    <a:pt x="180262" y="104832"/>
                    <a:pt x="169360" y="91980"/>
                    <a:pt x="155415" y="83034"/>
                  </a:cubicBezTo>
                  <a:close/>
                  <a:moveTo>
                    <a:pt x="150345" y="220752"/>
                  </a:moveTo>
                  <a:cubicBezTo>
                    <a:pt x="145908" y="232344"/>
                    <a:pt x="139443" y="241542"/>
                    <a:pt x="130823" y="248346"/>
                  </a:cubicBezTo>
                  <a:cubicBezTo>
                    <a:pt x="122329" y="255150"/>
                    <a:pt x="111554" y="258426"/>
                    <a:pt x="98878" y="258426"/>
                  </a:cubicBezTo>
                  <a:cubicBezTo>
                    <a:pt x="86582" y="258426"/>
                    <a:pt x="76313" y="255150"/>
                    <a:pt x="67820" y="248724"/>
                  </a:cubicBezTo>
                  <a:cubicBezTo>
                    <a:pt x="59326" y="242298"/>
                    <a:pt x="52862" y="233226"/>
                    <a:pt x="48425" y="221760"/>
                  </a:cubicBezTo>
                  <a:cubicBezTo>
                    <a:pt x="43988" y="210294"/>
                    <a:pt x="41706" y="196812"/>
                    <a:pt x="41706" y="181440"/>
                  </a:cubicBezTo>
                  <a:cubicBezTo>
                    <a:pt x="41706" y="166320"/>
                    <a:pt x="43861" y="153090"/>
                    <a:pt x="48298" y="141750"/>
                  </a:cubicBezTo>
                  <a:cubicBezTo>
                    <a:pt x="52608" y="130410"/>
                    <a:pt x="59073" y="121590"/>
                    <a:pt x="67567" y="115290"/>
                  </a:cubicBezTo>
                  <a:cubicBezTo>
                    <a:pt x="76060" y="108990"/>
                    <a:pt x="86455" y="105840"/>
                    <a:pt x="98878" y="105840"/>
                  </a:cubicBezTo>
                  <a:cubicBezTo>
                    <a:pt x="111681" y="105840"/>
                    <a:pt x="122456" y="109116"/>
                    <a:pt x="131076" y="115794"/>
                  </a:cubicBezTo>
                  <a:cubicBezTo>
                    <a:pt x="139697" y="122472"/>
                    <a:pt x="146161" y="131418"/>
                    <a:pt x="150471" y="142884"/>
                  </a:cubicBezTo>
                  <a:cubicBezTo>
                    <a:pt x="154781" y="154350"/>
                    <a:pt x="156937" y="167202"/>
                    <a:pt x="156937" y="181566"/>
                  </a:cubicBezTo>
                  <a:cubicBezTo>
                    <a:pt x="156937" y="196056"/>
                    <a:pt x="154781" y="209160"/>
                    <a:pt x="150345" y="2207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5" name="Freihandform 31">
              <a:extLst>
                <a:ext uri="{FF2B5EF4-FFF2-40B4-BE49-F238E27FC236}">
                  <a16:creationId xmlns:a16="http://schemas.microsoft.com/office/drawing/2014/main" id="{0776F73C-2EA7-438E-9F38-7669ABC7897E}"/>
                </a:ext>
              </a:extLst>
            </p:cNvPr>
            <p:cNvSpPr/>
            <p:nvPr/>
          </p:nvSpPr>
          <p:spPr bwMode="invGray">
            <a:xfrm>
              <a:off x="1393026" y="376728"/>
              <a:ext cx="43378" cy="49204"/>
            </a:xfrm>
            <a:custGeom>
              <a:avLst/>
              <a:gdLst>
                <a:gd name="connsiteX0" fmla="*/ 168472 w 198388"/>
                <a:gd name="connsiteY0" fmla="*/ 25200 h 225035"/>
                <a:gd name="connsiteX1" fmla="*/ 137288 w 198388"/>
                <a:gd name="connsiteY1" fmla="*/ 6048 h 225035"/>
                <a:gd name="connsiteX2" fmla="*/ 101286 w 198388"/>
                <a:gd name="connsiteY2" fmla="*/ 0 h 225035"/>
                <a:gd name="connsiteX3" fmla="*/ 48044 w 198388"/>
                <a:gd name="connsiteY3" fmla="*/ 14364 h 225035"/>
                <a:gd name="connsiteX4" fmla="*/ 12677 w 198388"/>
                <a:gd name="connsiteY4" fmla="*/ 54180 h 225035"/>
                <a:gd name="connsiteX5" fmla="*/ 0 w 198388"/>
                <a:gd name="connsiteY5" fmla="*/ 113148 h 225035"/>
                <a:gd name="connsiteX6" fmla="*/ 12677 w 198388"/>
                <a:gd name="connsiteY6" fmla="*/ 172242 h 225035"/>
                <a:gd name="connsiteX7" fmla="*/ 48551 w 198388"/>
                <a:gd name="connsiteY7" fmla="*/ 211176 h 225035"/>
                <a:gd name="connsiteX8" fmla="*/ 104328 w 198388"/>
                <a:gd name="connsiteY8" fmla="*/ 225036 h 225035"/>
                <a:gd name="connsiteX9" fmla="*/ 147048 w 198388"/>
                <a:gd name="connsiteY9" fmla="*/ 217728 h 225035"/>
                <a:gd name="connsiteX10" fmla="*/ 178233 w 198388"/>
                <a:gd name="connsiteY10" fmla="*/ 197190 h 225035"/>
                <a:gd name="connsiteX11" fmla="*/ 195600 w 198388"/>
                <a:gd name="connsiteY11" fmla="*/ 166194 h 225035"/>
                <a:gd name="connsiteX12" fmla="*/ 155289 w 198388"/>
                <a:gd name="connsiteY12" fmla="*/ 159012 h 225035"/>
                <a:gd name="connsiteX13" fmla="*/ 144133 w 198388"/>
                <a:gd name="connsiteY13" fmla="*/ 176148 h 225035"/>
                <a:gd name="connsiteX14" fmla="*/ 126893 w 198388"/>
                <a:gd name="connsiteY14" fmla="*/ 186606 h 225035"/>
                <a:gd name="connsiteX15" fmla="*/ 104835 w 198388"/>
                <a:gd name="connsiteY15" fmla="*/ 190134 h 225035"/>
                <a:gd name="connsiteX16" fmla="*/ 72130 w 198388"/>
                <a:gd name="connsiteY16" fmla="*/ 182070 h 225035"/>
                <a:gd name="connsiteX17" fmla="*/ 50453 w 198388"/>
                <a:gd name="connsiteY17" fmla="*/ 158760 h 225035"/>
                <a:gd name="connsiteX18" fmla="*/ 42974 w 198388"/>
                <a:gd name="connsiteY18" fmla="*/ 124614 h 225035"/>
                <a:gd name="connsiteX19" fmla="*/ 198389 w 198388"/>
                <a:gd name="connsiteY19" fmla="*/ 124614 h 225035"/>
                <a:gd name="connsiteX20" fmla="*/ 198389 w 198388"/>
                <a:gd name="connsiteY20" fmla="*/ 109620 h 225035"/>
                <a:gd name="connsiteX21" fmla="*/ 190403 w 198388"/>
                <a:gd name="connsiteY21" fmla="*/ 59220 h 225035"/>
                <a:gd name="connsiteX22" fmla="*/ 168472 w 198388"/>
                <a:gd name="connsiteY22" fmla="*/ 25200 h 225035"/>
                <a:gd name="connsiteX23" fmla="*/ 42974 w 198388"/>
                <a:gd name="connsiteY23" fmla="*/ 92736 h 225035"/>
                <a:gd name="connsiteX24" fmla="*/ 49692 w 198388"/>
                <a:gd name="connsiteY24" fmla="*/ 66402 h 225035"/>
                <a:gd name="connsiteX25" fmla="*/ 70228 w 198388"/>
                <a:gd name="connsiteY25" fmla="*/ 43722 h 225035"/>
                <a:gd name="connsiteX26" fmla="*/ 101539 w 198388"/>
                <a:gd name="connsiteY26" fmla="*/ 35028 h 225035"/>
                <a:gd name="connsiteX27" fmla="*/ 130442 w 198388"/>
                <a:gd name="connsiteY27" fmla="*/ 42588 h 225035"/>
                <a:gd name="connsiteX28" fmla="*/ 149584 w 198388"/>
                <a:gd name="connsiteY28" fmla="*/ 63126 h 225035"/>
                <a:gd name="connsiteX29" fmla="*/ 156429 w 198388"/>
                <a:gd name="connsiteY29" fmla="*/ 92862 h 225035"/>
                <a:gd name="connsiteX30" fmla="*/ 42974 w 198388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8" h="225035">
                  <a:moveTo>
                    <a:pt x="168472" y="25200"/>
                  </a:move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1043" y="189000"/>
                    <a:pt x="33086" y="201978"/>
                    <a:pt x="48551" y="211176"/>
                  </a:cubicBezTo>
                  <a:cubicBezTo>
                    <a:pt x="64144" y="220374"/>
                    <a:pt x="82651" y="225036"/>
                    <a:pt x="104328" y="225036"/>
                  </a:cubicBezTo>
                  <a:cubicBezTo>
                    <a:pt x="120301" y="225036"/>
                    <a:pt x="134499" y="222642"/>
                    <a:pt x="147048" y="217728"/>
                  </a:cubicBezTo>
                  <a:cubicBezTo>
                    <a:pt x="159599" y="212814"/>
                    <a:pt x="169993" y="206010"/>
                    <a:pt x="178233" y="197190"/>
                  </a:cubicBezTo>
                  <a:cubicBezTo>
                    <a:pt x="186600" y="188370"/>
                    <a:pt x="192304" y="178038"/>
                    <a:pt x="195600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5" y="190134"/>
                  </a:cubicBezTo>
                  <a:cubicBezTo>
                    <a:pt x="92412" y="190134"/>
                    <a:pt x="81511" y="187488"/>
                    <a:pt x="72130" y="182070"/>
                  </a:cubicBezTo>
                  <a:cubicBezTo>
                    <a:pt x="62876" y="176778"/>
                    <a:pt x="55523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2" y="66402"/>
                  </a:cubicBezTo>
                  <a:cubicBezTo>
                    <a:pt x="54509" y="57078"/>
                    <a:pt x="61355" y="49518"/>
                    <a:pt x="70228" y="43722"/>
                  </a:cubicBezTo>
                  <a:cubicBezTo>
                    <a:pt x="79102" y="37926"/>
                    <a:pt x="89497" y="35028"/>
                    <a:pt x="101539" y="35028"/>
                  </a:cubicBezTo>
                  <a:cubicBezTo>
                    <a:pt x="112568" y="35028"/>
                    <a:pt x="122202" y="37548"/>
                    <a:pt x="130442" y="42588"/>
                  </a:cubicBezTo>
                  <a:cubicBezTo>
                    <a:pt x="138682" y="47628"/>
                    <a:pt x="145020" y="54432"/>
                    <a:pt x="149584" y="63126"/>
                  </a:cubicBezTo>
                  <a:cubicBezTo>
                    <a:pt x="154147" y="71820"/>
                    <a:pt x="156429" y="81648"/>
                    <a:pt x="156429" y="92862"/>
                  </a:cubicBezTo>
                  <a:lnTo>
                    <a:pt x="42974" y="9286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6" name="Freihandform 32">
              <a:extLst>
                <a:ext uri="{FF2B5EF4-FFF2-40B4-BE49-F238E27FC236}">
                  <a16:creationId xmlns:a16="http://schemas.microsoft.com/office/drawing/2014/main" id="{96A47144-B517-4D9E-9D34-8B4529613420}"/>
                </a:ext>
              </a:extLst>
            </p:cNvPr>
            <p:cNvSpPr/>
            <p:nvPr/>
          </p:nvSpPr>
          <p:spPr bwMode="invGray">
            <a:xfrm>
              <a:off x="144225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3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3 w 123723"/>
                <a:gd name="connsiteY16" fmla="*/ 247590 h 272810"/>
                <a:gd name="connsiteX17" fmla="*/ 64651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8" y="234738"/>
                    <a:pt x="104456" y="234990"/>
                    <a:pt x="101033" y="234990"/>
                  </a:cubicBezTo>
                  <a:cubicBezTo>
                    <a:pt x="96342" y="234990"/>
                    <a:pt x="92032" y="234234"/>
                    <a:pt x="88103" y="232848"/>
                  </a:cubicBezTo>
                  <a:cubicBezTo>
                    <a:pt x="84173" y="231336"/>
                    <a:pt x="81004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3" y="247590"/>
                  </a:cubicBezTo>
                  <a:cubicBezTo>
                    <a:pt x="47031" y="256284"/>
                    <a:pt x="54890" y="262710"/>
                    <a:pt x="64651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9" y="272160"/>
                    <a:pt x="113202" y="271152"/>
                  </a:cubicBezTo>
                  <a:cubicBezTo>
                    <a:pt x="117766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7" y="233352"/>
                    <a:pt x="112568" y="233730"/>
                    <a:pt x="110033" y="234234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7" name="Freihandform 33">
              <a:extLst>
                <a:ext uri="{FF2B5EF4-FFF2-40B4-BE49-F238E27FC236}">
                  <a16:creationId xmlns:a16="http://schemas.microsoft.com/office/drawing/2014/main" id="{6675D025-AB85-467D-AF5E-E67FCC064833}"/>
                </a:ext>
              </a:extLst>
            </p:cNvPr>
            <p:cNvSpPr/>
            <p:nvPr/>
          </p:nvSpPr>
          <p:spPr bwMode="invGray">
            <a:xfrm>
              <a:off x="147418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2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2 w 123723"/>
                <a:gd name="connsiteY16" fmla="*/ 247590 h 272810"/>
                <a:gd name="connsiteX17" fmla="*/ 64650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7" y="234738"/>
                    <a:pt x="104455" y="234990"/>
                    <a:pt x="101033" y="234990"/>
                  </a:cubicBezTo>
                  <a:cubicBezTo>
                    <a:pt x="96342" y="234990"/>
                    <a:pt x="92032" y="234234"/>
                    <a:pt x="88102" y="232848"/>
                  </a:cubicBezTo>
                  <a:cubicBezTo>
                    <a:pt x="84173" y="231336"/>
                    <a:pt x="81003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2" y="247590"/>
                  </a:cubicBezTo>
                  <a:cubicBezTo>
                    <a:pt x="47030" y="256284"/>
                    <a:pt x="54890" y="262710"/>
                    <a:pt x="64650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8" y="272160"/>
                    <a:pt x="113202" y="271152"/>
                  </a:cubicBezTo>
                  <a:cubicBezTo>
                    <a:pt x="117765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6" y="233352"/>
                    <a:pt x="112695" y="233730"/>
                    <a:pt x="110033" y="234234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8" name="Freihandform 34">
              <a:extLst>
                <a:ext uri="{FF2B5EF4-FFF2-40B4-BE49-F238E27FC236}">
                  <a16:creationId xmlns:a16="http://schemas.microsoft.com/office/drawing/2014/main" id="{AB95B676-DB6F-411F-BA1D-501D07F12161}"/>
                </a:ext>
              </a:extLst>
            </p:cNvPr>
            <p:cNvSpPr/>
            <p:nvPr/>
          </p:nvSpPr>
          <p:spPr bwMode="invGray">
            <a:xfrm>
              <a:off x="1507803" y="376728"/>
              <a:ext cx="43378" cy="49204"/>
            </a:xfrm>
            <a:custGeom>
              <a:avLst/>
              <a:gdLst>
                <a:gd name="connsiteX0" fmla="*/ 168472 w 198389"/>
                <a:gd name="connsiteY0" fmla="*/ 25200 h 225035"/>
                <a:gd name="connsiteX1" fmla="*/ 137288 w 198389"/>
                <a:gd name="connsiteY1" fmla="*/ 6048 h 225035"/>
                <a:gd name="connsiteX2" fmla="*/ 101286 w 198389"/>
                <a:gd name="connsiteY2" fmla="*/ 0 h 225035"/>
                <a:gd name="connsiteX3" fmla="*/ 48044 w 198389"/>
                <a:gd name="connsiteY3" fmla="*/ 14364 h 225035"/>
                <a:gd name="connsiteX4" fmla="*/ 12677 w 198389"/>
                <a:gd name="connsiteY4" fmla="*/ 54180 h 225035"/>
                <a:gd name="connsiteX5" fmla="*/ 0 w 198389"/>
                <a:gd name="connsiteY5" fmla="*/ 113148 h 225035"/>
                <a:gd name="connsiteX6" fmla="*/ 12677 w 198389"/>
                <a:gd name="connsiteY6" fmla="*/ 172242 h 225035"/>
                <a:gd name="connsiteX7" fmla="*/ 48552 w 198389"/>
                <a:gd name="connsiteY7" fmla="*/ 211176 h 225035"/>
                <a:gd name="connsiteX8" fmla="*/ 104329 w 198389"/>
                <a:gd name="connsiteY8" fmla="*/ 225036 h 225035"/>
                <a:gd name="connsiteX9" fmla="*/ 147049 w 198389"/>
                <a:gd name="connsiteY9" fmla="*/ 217728 h 225035"/>
                <a:gd name="connsiteX10" fmla="*/ 178234 w 198389"/>
                <a:gd name="connsiteY10" fmla="*/ 197190 h 225035"/>
                <a:gd name="connsiteX11" fmla="*/ 195601 w 198389"/>
                <a:gd name="connsiteY11" fmla="*/ 166194 h 225035"/>
                <a:gd name="connsiteX12" fmla="*/ 155289 w 198389"/>
                <a:gd name="connsiteY12" fmla="*/ 159012 h 225035"/>
                <a:gd name="connsiteX13" fmla="*/ 144133 w 198389"/>
                <a:gd name="connsiteY13" fmla="*/ 176148 h 225035"/>
                <a:gd name="connsiteX14" fmla="*/ 126893 w 198389"/>
                <a:gd name="connsiteY14" fmla="*/ 186606 h 225035"/>
                <a:gd name="connsiteX15" fmla="*/ 104836 w 198389"/>
                <a:gd name="connsiteY15" fmla="*/ 190134 h 225035"/>
                <a:gd name="connsiteX16" fmla="*/ 72130 w 198389"/>
                <a:gd name="connsiteY16" fmla="*/ 182070 h 225035"/>
                <a:gd name="connsiteX17" fmla="*/ 50453 w 198389"/>
                <a:gd name="connsiteY17" fmla="*/ 158760 h 225035"/>
                <a:gd name="connsiteX18" fmla="*/ 42974 w 198389"/>
                <a:gd name="connsiteY18" fmla="*/ 124614 h 225035"/>
                <a:gd name="connsiteX19" fmla="*/ 198389 w 198389"/>
                <a:gd name="connsiteY19" fmla="*/ 124614 h 225035"/>
                <a:gd name="connsiteX20" fmla="*/ 198389 w 198389"/>
                <a:gd name="connsiteY20" fmla="*/ 109620 h 225035"/>
                <a:gd name="connsiteX21" fmla="*/ 190403 w 198389"/>
                <a:gd name="connsiteY21" fmla="*/ 59220 h 225035"/>
                <a:gd name="connsiteX22" fmla="*/ 168472 w 198389"/>
                <a:gd name="connsiteY22" fmla="*/ 25200 h 225035"/>
                <a:gd name="connsiteX23" fmla="*/ 42974 w 198389"/>
                <a:gd name="connsiteY23" fmla="*/ 92736 h 225035"/>
                <a:gd name="connsiteX24" fmla="*/ 49693 w 198389"/>
                <a:gd name="connsiteY24" fmla="*/ 66402 h 225035"/>
                <a:gd name="connsiteX25" fmla="*/ 70229 w 198389"/>
                <a:gd name="connsiteY25" fmla="*/ 43722 h 225035"/>
                <a:gd name="connsiteX26" fmla="*/ 101540 w 198389"/>
                <a:gd name="connsiteY26" fmla="*/ 35028 h 225035"/>
                <a:gd name="connsiteX27" fmla="*/ 130443 w 198389"/>
                <a:gd name="connsiteY27" fmla="*/ 42588 h 225035"/>
                <a:gd name="connsiteX28" fmla="*/ 149584 w 198389"/>
                <a:gd name="connsiteY28" fmla="*/ 63126 h 225035"/>
                <a:gd name="connsiteX29" fmla="*/ 156430 w 198389"/>
                <a:gd name="connsiteY29" fmla="*/ 92862 h 225035"/>
                <a:gd name="connsiteX30" fmla="*/ 42974 w 198389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9" h="225035">
                  <a:moveTo>
                    <a:pt x="168472" y="25200"/>
                  </a:move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9000"/>
                    <a:pt x="33086" y="201978"/>
                    <a:pt x="48552" y="211176"/>
                  </a:cubicBezTo>
                  <a:cubicBezTo>
                    <a:pt x="64144" y="220374"/>
                    <a:pt x="82652" y="225036"/>
                    <a:pt x="104329" y="225036"/>
                  </a:cubicBezTo>
                  <a:cubicBezTo>
                    <a:pt x="120301" y="225036"/>
                    <a:pt x="134499" y="222642"/>
                    <a:pt x="147049" y="217728"/>
                  </a:cubicBezTo>
                  <a:cubicBezTo>
                    <a:pt x="159599" y="212814"/>
                    <a:pt x="169993" y="206010"/>
                    <a:pt x="178234" y="197190"/>
                  </a:cubicBezTo>
                  <a:cubicBezTo>
                    <a:pt x="186600" y="188370"/>
                    <a:pt x="192304" y="178038"/>
                    <a:pt x="195601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6" y="190134"/>
                  </a:cubicBezTo>
                  <a:cubicBezTo>
                    <a:pt x="92413" y="190134"/>
                    <a:pt x="81511" y="187488"/>
                    <a:pt x="72130" y="182070"/>
                  </a:cubicBezTo>
                  <a:cubicBezTo>
                    <a:pt x="62876" y="176778"/>
                    <a:pt x="55524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3" y="66402"/>
                  </a:cubicBezTo>
                  <a:cubicBezTo>
                    <a:pt x="54510" y="57078"/>
                    <a:pt x="61355" y="49518"/>
                    <a:pt x="70229" y="43722"/>
                  </a:cubicBezTo>
                  <a:cubicBezTo>
                    <a:pt x="79102" y="37926"/>
                    <a:pt x="89497" y="35028"/>
                    <a:pt x="101540" y="35028"/>
                  </a:cubicBezTo>
                  <a:cubicBezTo>
                    <a:pt x="112568" y="35028"/>
                    <a:pt x="122203" y="37548"/>
                    <a:pt x="130443" y="42588"/>
                  </a:cubicBezTo>
                  <a:cubicBezTo>
                    <a:pt x="138682" y="47628"/>
                    <a:pt x="145021" y="54432"/>
                    <a:pt x="149584" y="63126"/>
                  </a:cubicBezTo>
                  <a:cubicBezTo>
                    <a:pt x="154148" y="71820"/>
                    <a:pt x="156430" y="81648"/>
                    <a:pt x="156430" y="92862"/>
                  </a:cubicBezTo>
                  <a:lnTo>
                    <a:pt x="42974" y="9286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9" name="Freihandform 35">
              <a:extLst>
                <a:ext uri="{FF2B5EF4-FFF2-40B4-BE49-F238E27FC236}">
                  <a16:creationId xmlns:a16="http://schemas.microsoft.com/office/drawing/2014/main" id="{37D4CE77-3FC3-4C90-8C7C-52858E35942C}"/>
                </a:ext>
              </a:extLst>
            </p:cNvPr>
            <p:cNvSpPr/>
            <p:nvPr/>
          </p:nvSpPr>
          <p:spPr bwMode="invGray">
            <a:xfrm>
              <a:off x="1560854" y="376618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0" name="Freihandform 36">
              <a:extLst>
                <a:ext uri="{FF2B5EF4-FFF2-40B4-BE49-F238E27FC236}">
                  <a16:creationId xmlns:a16="http://schemas.microsoft.com/office/drawing/2014/main" id="{663953A3-132C-4F8A-A542-F246666170C7}"/>
                </a:ext>
              </a:extLst>
            </p:cNvPr>
            <p:cNvSpPr/>
            <p:nvPr/>
          </p:nvSpPr>
          <p:spPr bwMode="invGray">
            <a:xfrm>
              <a:off x="1125885" y="466265"/>
              <a:ext cx="67325" cy="47634"/>
            </a:xfrm>
            <a:custGeom>
              <a:avLst/>
              <a:gdLst>
                <a:gd name="connsiteX0" fmla="*/ 221207 w 307914"/>
                <a:gd name="connsiteY0" fmla="*/ 159264 h 217854"/>
                <a:gd name="connsiteX1" fmla="*/ 219052 w 307914"/>
                <a:gd name="connsiteY1" fmla="*/ 159264 h 217854"/>
                <a:gd name="connsiteX2" fmla="*/ 176205 w 307914"/>
                <a:gd name="connsiteY2" fmla="*/ 0 h 217854"/>
                <a:gd name="connsiteX3" fmla="*/ 132217 w 307914"/>
                <a:gd name="connsiteY3" fmla="*/ 0 h 217854"/>
                <a:gd name="connsiteX4" fmla="*/ 89117 w 307914"/>
                <a:gd name="connsiteY4" fmla="*/ 159894 h 217854"/>
                <a:gd name="connsiteX5" fmla="*/ 86961 w 307914"/>
                <a:gd name="connsiteY5" fmla="*/ 159894 h 217854"/>
                <a:gd name="connsiteX6" fmla="*/ 43988 w 307914"/>
                <a:gd name="connsiteY6" fmla="*/ 0 h 217854"/>
                <a:gd name="connsiteX7" fmla="*/ 0 w 307914"/>
                <a:gd name="connsiteY7" fmla="*/ 0 h 217854"/>
                <a:gd name="connsiteX8" fmla="*/ 64397 w 307914"/>
                <a:gd name="connsiteY8" fmla="*/ 217854 h 217854"/>
                <a:gd name="connsiteX9" fmla="*/ 107751 w 307914"/>
                <a:gd name="connsiteY9" fmla="*/ 217854 h 217854"/>
                <a:gd name="connsiteX10" fmla="*/ 152246 w 307914"/>
                <a:gd name="connsiteY10" fmla="*/ 60606 h 217854"/>
                <a:gd name="connsiteX11" fmla="*/ 155542 w 307914"/>
                <a:gd name="connsiteY11" fmla="*/ 60606 h 217854"/>
                <a:gd name="connsiteX12" fmla="*/ 200037 w 307914"/>
                <a:gd name="connsiteY12" fmla="*/ 217854 h 217854"/>
                <a:gd name="connsiteX13" fmla="*/ 243518 w 307914"/>
                <a:gd name="connsiteY13" fmla="*/ 217854 h 217854"/>
                <a:gd name="connsiteX14" fmla="*/ 307915 w 307914"/>
                <a:gd name="connsiteY14" fmla="*/ 0 h 217854"/>
                <a:gd name="connsiteX15" fmla="*/ 263800 w 307914"/>
                <a:gd name="connsiteY15" fmla="*/ 0 h 21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7914" h="217854">
                  <a:moveTo>
                    <a:pt x="221207" y="159264"/>
                  </a:moveTo>
                  <a:lnTo>
                    <a:pt x="219052" y="159264"/>
                  </a:lnTo>
                  <a:lnTo>
                    <a:pt x="176205" y="0"/>
                  </a:lnTo>
                  <a:lnTo>
                    <a:pt x="132217" y="0"/>
                  </a:lnTo>
                  <a:lnTo>
                    <a:pt x="89117" y="159894"/>
                  </a:lnTo>
                  <a:lnTo>
                    <a:pt x="86961" y="159894"/>
                  </a:lnTo>
                  <a:lnTo>
                    <a:pt x="43988" y="0"/>
                  </a:lnTo>
                  <a:lnTo>
                    <a:pt x="0" y="0"/>
                  </a:lnTo>
                  <a:lnTo>
                    <a:pt x="64397" y="217854"/>
                  </a:lnTo>
                  <a:lnTo>
                    <a:pt x="107751" y="217854"/>
                  </a:lnTo>
                  <a:lnTo>
                    <a:pt x="152246" y="60606"/>
                  </a:lnTo>
                  <a:lnTo>
                    <a:pt x="155542" y="60606"/>
                  </a:lnTo>
                  <a:lnTo>
                    <a:pt x="200037" y="217854"/>
                  </a:lnTo>
                  <a:lnTo>
                    <a:pt x="243518" y="217854"/>
                  </a:lnTo>
                  <a:lnTo>
                    <a:pt x="307915" y="0"/>
                  </a:lnTo>
                  <a:lnTo>
                    <a:pt x="263800" y="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1" name="Freihandform 37">
              <a:extLst>
                <a:ext uri="{FF2B5EF4-FFF2-40B4-BE49-F238E27FC236}">
                  <a16:creationId xmlns:a16="http://schemas.microsoft.com/office/drawing/2014/main" id="{A9437713-E829-48C1-8155-9D1DB29E79D5}"/>
                </a:ext>
              </a:extLst>
            </p:cNvPr>
            <p:cNvSpPr/>
            <p:nvPr/>
          </p:nvSpPr>
          <p:spPr bwMode="invGray">
            <a:xfrm>
              <a:off x="1198532" y="465659"/>
              <a:ext cx="44625" cy="49177"/>
            </a:xfrm>
            <a:custGeom>
              <a:avLst/>
              <a:gdLst>
                <a:gd name="connsiteX0" fmla="*/ 155796 w 204093"/>
                <a:gd name="connsiteY0" fmla="*/ 13986 h 224910"/>
                <a:gd name="connsiteX1" fmla="*/ 102047 w 204093"/>
                <a:gd name="connsiteY1" fmla="*/ 0 h 224910"/>
                <a:gd name="connsiteX2" fmla="*/ 48298 w 204093"/>
                <a:gd name="connsiteY2" fmla="*/ 13986 h 224910"/>
                <a:gd name="connsiteX3" fmla="*/ 12677 w 204093"/>
                <a:gd name="connsiteY3" fmla="*/ 53424 h 224910"/>
                <a:gd name="connsiteX4" fmla="*/ 0 w 204093"/>
                <a:gd name="connsiteY4" fmla="*/ 112644 h 224910"/>
                <a:gd name="connsiteX5" fmla="*/ 12677 w 204093"/>
                <a:gd name="connsiteY5" fmla="*/ 171612 h 224910"/>
                <a:gd name="connsiteX6" fmla="*/ 48298 w 204093"/>
                <a:gd name="connsiteY6" fmla="*/ 210924 h 224910"/>
                <a:gd name="connsiteX7" fmla="*/ 102047 w 204093"/>
                <a:gd name="connsiteY7" fmla="*/ 224910 h 224910"/>
                <a:gd name="connsiteX8" fmla="*/ 155796 w 204093"/>
                <a:gd name="connsiteY8" fmla="*/ 210924 h 224910"/>
                <a:gd name="connsiteX9" fmla="*/ 191417 w 204093"/>
                <a:gd name="connsiteY9" fmla="*/ 171612 h 224910"/>
                <a:gd name="connsiteX10" fmla="*/ 204094 w 204093"/>
                <a:gd name="connsiteY10" fmla="*/ 112644 h 224910"/>
                <a:gd name="connsiteX11" fmla="*/ 191417 w 204093"/>
                <a:gd name="connsiteY11" fmla="*/ 53424 h 224910"/>
                <a:gd name="connsiteX12" fmla="*/ 155796 w 204093"/>
                <a:gd name="connsiteY12" fmla="*/ 13986 h 224910"/>
                <a:gd name="connsiteX13" fmla="*/ 154655 w 204093"/>
                <a:gd name="connsiteY13" fmla="*/ 150948 h 224910"/>
                <a:gd name="connsiteX14" fmla="*/ 135133 w 204093"/>
                <a:gd name="connsiteY14" fmla="*/ 178920 h 224910"/>
                <a:gd name="connsiteX15" fmla="*/ 102047 w 204093"/>
                <a:gd name="connsiteY15" fmla="*/ 189378 h 224910"/>
                <a:gd name="connsiteX16" fmla="*/ 68707 w 204093"/>
                <a:gd name="connsiteY16" fmla="*/ 178920 h 224910"/>
                <a:gd name="connsiteX17" fmla="*/ 49185 w 204093"/>
                <a:gd name="connsiteY17" fmla="*/ 150948 h 224910"/>
                <a:gd name="connsiteX18" fmla="*/ 42847 w 204093"/>
                <a:gd name="connsiteY18" fmla="*/ 112518 h 224910"/>
                <a:gd name="connsiteX19" fmla="*/ 49185 w 204093"/>
                <a:gd name="connsiteY19" fmla="*/ 74214 h 224910"/>
                <a:gd name="connsiteX20" fmla="*/ 68707 w 204093"/>
                <a:gd name="connsiteY20" fmla="*/ 46116 h 224910"/>
                <a:gd name="connsiteX21" fmla="*/ 102047 w 204093"/>
                <a:gd name="connsiteY21" fmla="*/ 35532 h 224910"/>
                <a:gd name="connsiteX22" fmla="*/ 135133 w 204093"/>
                <a:gd name="connsiteY22" fmla="*/ 46116 h 224910"/>
                <a:gd name="connsiteX23" fmla="*/ 154655 w 204093"/>
                <a:gd name="connsiteY23" fmla="*/ 74214 h 224910"/>
                <a:gd name="connsiteX24" fmla="*/ 160993 w 204093"/>
                <a:gd name="connsiteY24" fmla="*/ 112518 h 224910"/>
                <a:gd name="connsiteX25" fmla="*/ 154655 w 204093"/>
                <a:gd name="connsiteY25" fmla="*/ 150948 h 224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10">
                  <a:moveTo>
                    <a:pt x="155796" y="13986"/>
                  </a:move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6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3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6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0" y="154854"/>
                    <a:pt x="204094" y="135072"/>
                    <a:pt x="204094" y="112644"/>
                  </a:cubicBezTo>
                  <a:cubicBezTo>
                    <a:pt x="204094" y="90090"/>
                    <a:pt x="199910" y="70308"/>
                    <a:pt x="191417" y="53424"/>
                  </a:cubicBezTo>
                  <a:cubicBezTo>
                    <a:pt x="182924" y="36540"/>
                    <a:pt x="171007" y="23310"/>
                    <a:pt x="155796" y="13986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09" y="189378"/>
                    <a:pt x="77581" y="185850"/>
                    <a:pt x="68707" y="178920"/>
                  </a:cubicBezTo>
                  <a:cubicBezTo>
                    <a:pt x="59961" y="171990"/>
                    <a:pt x="53368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8" y="62496"/>
                    <a:pt x="59961" y="53172"/>
                    <a:pt x="68707" y="46116"/>
                  </a:cubicBezTo>
                  <a:cubicBezTo>
                    <a:pt x="77454" y="39060"/>
                    <a:pt x="88609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2" name="Freihandform 38">
              <a:extLst>
                <a:ext uri="{FF2B5EF4-FFF2-40B4-BE49-F238E27FC236}">
                  <a16:creationId xmlns:a16="http://schemas.microsoft.com/office/drawing/2014/main" id="{A557F429-6F93-4F3C-B06C-6AA11804ED92}"/>
                </a:ext>
              </a:extLst>
            </p:cNvPr>
            <p:cNvSpPr/>
            <p:nvPr/>
          </p:nvSpPr>
          <p:spPr bwMode="invGray">
            <a:xfrm>
              <a:off x="1253635" y="465549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3" name="Freihandform 39">
              <a:extLst>
                <a:ext uri="{FF2B5EF4-FFF2-40B4-BE49-F238E27FC236}">
                  <a16:creationId xmlns:a16="http://schemas.microsoft.com/office/drawing/2014/main" id="{7DC88ECB-9263-4363-9D71-4514FF702696}"/>
                </a:ext>
              </a:extLst>
            </p:cNvPr>
            <p:cNvSpPr/>
            <p:nvPr/>
          </p:nvSpPr>
          <p:spPr bwMode="invGray">
            <a:xfrm>
              <a:off x="1287450" y="450397"/>
              <a:ext cx="9341" cy="63475"/>
            </a:xfrm>
            <a:custGeom>
              <a:avLst/>
              <a:gdLst>
                <a:gd name="connsiteX0" fmla="*/ 0 w 42720"/>
                <a:gd name="connsiteY0" fmla="*/ 0 h 290304"/>
                <a:gd name="connsiteX1" fmla="*/ 42720 w 42720"/>
                <a:gd name="connsiteY1" fmla="*/ 0 h 290304"/>
                <a:gd name="connsiteX2" fmla="*/ 42720 w 42720"/>
                <a:gd name="connsiteY2" fmla="*/ 290304 h 290304"/>
                <a:gd name="connsiteX3" fmla="*/ 0 w 42720"/>
                <a:gd name="connsiteY3" fmla="*/ 290304 h 29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90304">
                  <a:moveTo>
                    <a:pt x="0" y="0"/>
                  </a:moveTo>
                  <a:lnTo>
                    <a:pt x="42720" y="0"/>
                  </a:lnTo>
                  <a:lnTo>
                    <a:pt x="42720" y="290304"/>
                  </a:lnTo>
                  <a:lnTo>
                    <a:pt x="0" y="290304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4" name="Freihandform 40">
              <a:extLst>
                <a:ext uri="{FF2B5EF4-FFF2-40B4-BE49-F238E27FC236}">
                  <a16:creationId xmlns:a16="http://schemas.microsoft.com/office/drawing/2014/main" id="{BE070819-7F8D-4874-8710-2FC1516B1249}"/>
                </a:ext>
              </a:extLst>
            </p:cNvPr>
            <p:cNvSpPr/>
            <p:nvPr/>
          </p:nvSpPr>
          <p:spPr bwMode="invGray">
            <a:xfrm>
              <a:off x="1307323" y="450397"/>
              <a:ext cx="43793" cy="64411"/>
            </a:xfrm>
            <a:custGeom>
              <a:avLst/>
              <a:gdLst>
                <a:gd name="connsiteX0" fmla="*/ 157444 w 200290"/>
                <a:gd name="connsiteY0" fmla="*/ 107856 h 294587"/>
                <a:gd name="connsiteX1" fmla="*/ 154908 w 200290"/>
                <a:gd name="connsiteY1" fmla="*/ 107856 h 294587"/>
                <a:gd name="connsiteX2" fmla="*/ 144133 w 200290"/>
                <a:gd name="connsiteY2" fmla="*/ 92106 h 294587"/>
                <a:gd name="connsiteX3" fmla="*/ 124738 w 200290"/>
                <a:gd name="connsiteY3" fmla="*/ 76482 h 294587"/>
                <a:gd name="connsiteX4" fmla="*/ 91905 w 200290"/>
                <a:gd name="connsiteY4" fmla="*/ 69804 h 294587"/>
                <a:gd name="connsiteX5" fmla="*/ 44622 w 200290"/>
                <a:gd name="connsiteY5" fmla="*/ 83160 h 294587"/>
                <a:gd name="connsiteX6" fmla="*/ 11916 w 200290"/>
                <a:gd name="connsiteY6" fmla="*/ 121590 h 294587"/>
                <a:gd name="connsiteX7" fmla="*/ 0 w 200290"/>
                <a:gd name="connsiteY7" fmla="*/ 181944 h 294587"/>
                <a:gd name="connsiteX8" fmla="*/ 11789 w 200290"/>
                <a:gd name="connsiteY8" fmla="*/ 242424 h 294587"/>
                <a:gd name="connsiteX9" fmla="*/ 44368 w 200290"/>
                <a:gd name="connsiteY9" fmla="*/ 281106 h 294587"/>
                <a:gd name="connsiteX10" fmla="*/ 91652 w 200290"/>
                <a:gd name="connsiteY10" fmla="*/ 294588 h 294587"/>
                <a:gd name="connsiteX11" fmla="*/ 124231 w 200290"/>
                <a:gd name="connsiteY11" fmla="*/ 287910 h 294587"/>
                <a:gd name="connsiteX12" fmla="*/ 144006 w 200290"/>
                <a:gd name="connsiteY12" fmla="*/ 272286 h 294587"/>
                <a:gd name="connsiteX13" fmla="*/ 155035 w 200290"/>
                <a:gd name="connsiteY13" fmla="*/ 256410 h 294587"/>
                <a:gd name="connsiteX14" fmla="*/ 158585 w 200290"/>
                <a:gd name="connsiteY14" fmla="*/ 256410 h 294587"/>
                <a:gd name="connsiteX15" fmla="*/ 158585 w 200290"/>
                <a:gd name="connsiteY15" fmla="*/ 290304 h 294587"/>
                <a:gd name="connsiteX16" fmla="*/ 200290 w 200290"/>
                <a:gd name="connsiteY16" fmla="*/ 290304 h 294587"/>
                <a:gd name="connsiteX17" fmla="*/ 200290 w 200290"/>
                <a:gd name="connsiteY17" fmla="*/ 0 h 294587"/>
                <a:gd name="connsiteX18" fmla="*/ 157570 w 200290"/>
                <a:gd name="connsiteY18" fmla="*/ 0 h 294587"/>
                <a:gd name="connsiteX19" fmla="*/ 157570 w 200290"/>
                <a:gd name="connsiteY19" fmla="*/ 107856 h 294587"/>
                <a:gd name="connsiteX20" fmla="*/ 151612 w 200290"/>
                <a:gd name="connsiteY20" fmla="*/ 221760 h 294587"/>
                <a:gd name="connsiteX21" fmla="*/ 132217 w 200290"/>
                <a:gd name="connsiteY21" fmla="*/ 248724 h 294587"/>
                <a:gd name="connsiteX22" fmla="*/ 101033 w 200290"/>
                <a:gd name="connsiteY22" fmla="*/ 258426 h 294587"/>
                <a:gd name="connsiteX23" fmla="*/ 69214 w 200290"/>
                <a:gd name="connsiteY23" fmla="*/ 248346 h 294587"/>
                <a:gd name="connsiteX24" fmla="*/ 49819 w 200290"/>
                <a:gd name="connsiteY24" fmla="*/ 220752 h 294587"/>
                <a:gd name="connsiteX25" fmla="*/ 43227 w 200290"/>
                <a:gd name="connsiteY25" fmla="*/ 181440 h 294587"/>
                <a:gd name="connsiteX26" fmla="*/ 49693 w 200290"/>
                <a:gd name="connsiteY26" fmla="*/ 142758 h 294587"/>
                <a:gd name="connsiteX27" fmla="*/ 68961 w 200290"/>
                <a:gd name="connsiteY27" fmla="*/ 115668 h 294587"/>
                <a:gd name="connsiteX28" fmla="*/ 101033 w 200290"/>
                <a:gd name="connsiteY28" fmla="*/ 105714 h 294587"/>
                <a:gd name="connsiteX29" fmla="*/ 132471 w 200290"/>
                <a:gd name="connsiteY29" fmla="*/ 115164 h 294587"/>
                <a:gd name="connsiteX30" fmla="*/ 151739 w 200290"/>
                <a:gd name="connsiteY30" fmla="*/ 141624 h 294587"/>
                <a:gd name="connsiteX31" fmla="*/ 158331 w 200290"/>
                <a:gd name="connsiteY31" fmla="*/ 181314 h 294587"/>
                <a:gd name="connsiteX32" fmla="*/ 151612 w 200290"/>
                <a:gd name="connsiteY32" fmla="*/ 221760 h 29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290" h="294587">
                  <a:moveTo>
                    <a:pt x="157444" y="107856"/>
                  </a:moveTo>
                  <a:lnTo>
                    <a:pt x="154908" y="107856"/>
                  </a:lnTo>
                  <a:cubicBezTo>
                    <a:pt x="152373" y="103320"/>
                    <a:pt x="148697" y="98028"/>
                    <a:pt x="144133" y="92106"/>
                  </a:cubicBezTo>
                  <a:cubicBezTo>
                    <a:pt x="139443" y="86184"/>
                    <a:pt x="132978" y="80892"/>
                    <a:pt x="124738" y="76482"/>
                  </a:cubicBezTo>
                  <a:cubicBezTo>
                    <a:pt x="116371" y="71946"/>
                    <a:pt x="105470" y="69804"/>
                    <a:pt x="91905" y="69804"/>
                  </a:cubicBezTo>
                  <a:cubicBezTo>
                    <a:pt x="74285" y="69804"/>
                    <a:pt x="58566" y="74214"/>
                    <a:pt x="44622" y="83160"/>
                  </a:cubicBezTo>
                  <a:cubicBezTo>
                    <a:pt x="30678" y="92106"/>
                    <a:pt x="19775" y="104832"/>
                    <a:pt x="11916" y="121590"/>
                  </a:cubicBezTo>
                  <a:cubicBezTo>
                    <a:pt x="3930" y="138348"/>
                    <a:pt x="0" y="158508"/>
                    <a:pt x="0" y="181944"/>
                  </a:cubicBezTo>
                  <a:cubicBezTo>
                    <a:pt x="0" y="205506"/>
                    <a:pt x="3930" y="225666"/>
                    <a:pt x="11789" y="242424"/>
                  </a:cubicBezTo>
                  <a:cubicBezTo>
                    <a:pt x="19649" y="259182"/>
                    <a:pt x="30424" y="272034"/>
                    <a:pt x="44368" y="281106"/>
                  </a:cubicBezTo>
                  <a:cubicBezTo>
                    <a:pt x="58186" y="290178"/>
                    <a:pt x="73905" y="294588"/>
                    <a:pt x="91652" y="294588"/>
                  </a:cubicBezTo>
                  <a:cubicBezTo>
                    <a:pt x="104962" y="294588"/>
                    <a:pt x="115738" y="292320"/>
                    <a:pt x="124231" y="287910"/>
                  </a:cubicBezTo>
                  <a:cubicBezTo>
                    <a:pt x="132597" y="283500"/>
                    <a:pt x="139189" y="278208"/>
                    <a:pt x="144006" y="272286"/>
                  </a:cubicBezTo>
                  <a:cubicBezTo>
                    <a:pt x="148823" y="266364"/>
                    <a:pt x="152500" y="261072"/>
                    <a:pt x="155035" y="256410"/>
                  </a:cubicBezTo>
                  <a:lnTo>
                    <a:pt x="158585" y="256410"/>
                  </a:lnTo>
                  <a:lnTo>
                    <a:pt x="158585" y="290304"/>
                  </a:lnTo>
                  <a:lnTo>
                    <a:pt x="200290" y="290304"/>
                  </a:lnTo>
                  <a:lnTo>
                    <a:pt x="200290" y="0"/>
                  </a:lnTo>
                  <a:lnTo>
                    <a:pt x="157570" y="0"/>
                  </a:lnTo>
                  <a:lnTo>
                    <a:pt x="157570" y="107856"/>
                  </a:lnTo>
                  <a:close/>
                  <a:moveTo>
                    <a:pt x="151612" y="221760"/>
                  </a:moveTo>
                  <a:cubicBezTo>
                    <a:pt x="147175" y="233226"/>
                    <a:pt x="140711" y="242298"/>
                    <a:pt x="132217" y="248724"/>
                  </a:cubicBezTo>
                  <a:cubicBezTo>
                    <a:pt x="123724" y="255150"/>
                    <a:pt x="113329" y="258426"/>
                    <a:pt x="101033" y="258426"/>
                  </a:cubicBezTo>
                  <a:cubicBezTo>
                    <a:pt x="88356" y="258426"/>
                    <a:pt x="77708" y="255024"/>
                    <a:pt x="69214" y="248346"/>
                  </a:cubicBezTo>
                  <a:cubicBezTo>
                    <a:pt x="60594" y="241542"/>
                    <a:pt x="54129" y="232344"/>
                    <a:pt x="49819" y="220752"/>
                  </a:cubicBezTo>
                  <a:cubicBezTo>
                    <a:pt x="45382" y="209160"/>
                    <a:pt x="43227" y="196056"/>
                    <a:pt x="43227" y="181440"/>
                  </a:cubicBezTo>
                  <a:cubicBezTo>
                    <a:pt x="43227" y="167076"/>
                    <a:pt x="45382" y="154224"/>
                    <a:pt x="49693" y="142758"/>
                  </a:cubicBezTo>
                  <a:cubicBezTo>
                    <a:pt x="54003" y="131292"/>
                    <a:pt x="60467" y="122346"/>
                    <a:pt x="68961" y="115668"/>
                  </a:cubicBezTo>
                  <a:cubicBezTo>
                    <a:pt x="77454" y="108990"/>
                    <a:pt x="88229" y="105714"/>
                    <a:pt x="101033" y="105714"/>
                  </a:cubicBezTo>
                  <a:cubicBezTo>
                    <a:pt x="113456" y="105714"/>
                    <a:pt x="123977" y="108864"/>
                    <a:pt x="132471" y="115164"/>
                  </a:cubicBezTo>
                  <a:cubicBezTo>
                    <a:pt x="140964" y="121464"/>
                    <a:pt x="147302" y="130284"/>
                    <a:pt x="151739" y="141624"/>
                  </a:cubicBezTo>
                  <a:cubicBezTo>
                    <a:pt x="156049" y="152964"/>
                    <a:pt x="158331" y="166194"/>
                    <a:pt x="158331" y="181314"/>
                  </a:cubicBezTo>
                  <a:cubicBezTo>
                    <a:pt x="158204" y="196812"/>
                    <a:pt x="156049" y="210168"/>
                    <a:pt x="151612" y="22176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5" name="Freihandform 41">
              <a:extLst>
                <a:ext uri="{FF2B5EF4-FFF2-40B4-BE49-F238E27FC236}">
                  <a16:creationId xmlns:a16="http://schemas.microsoft.com/office/drawing/2014/main" id="{874300A1-6EF5-45E8-A8F2-13B9427E8203}"/>
                </a:ext>
              </a:extLst>
            </p:cNvPr>
            <p:cNvSpPr/>
            <p:nvPr/>
          </p:nvSpPr>
          <p:spPr bwMode="invGray">
            <a:xfrm>
              <a:off x="1364393" y="502108"/>
              <a:ext cx="12473" cy="12370"/>
            </a:xfrm>
            <a:custGeom>
              <a:avLst/>
              <a:gdLst>
                <a:gd name="connsiteX0" fmla="*/ 28395 w 57044"/>
                <a:gd name="connsiteY0" fmla="*/ 0 h 56573"/>
                <a:gd name="connsiteX1" fmla="*/ 8367 w 57044"/>
                <a:gd name="connsiteY1" fmla="*/ 8316 h 56573"/>
                <a:gd name="connsiteX2" fmla="*/ 0 w 57044"/>
                <a:gd name="connsiteY2" fmla="*/ 28224 h 56573"/>
                <a:gd name="connsiteX3" fmla="*/ 8367 w 57044"/>
                <a:gd name="connsiteY3" fmla="*/ 48258 h 56573"/>
                <a:gd name="connsiteX4" fmla="*/ 28395 w 57044"/>
                <a:gd name="connsiteY4" fmla="*/ 56574 h 56573"/>
                <a:gd name="connsiteX5" fmla="*/ 42720 w 57044"/>
                <a:gd name="connsiteY5" fmla="*/ 52794 h 56573"/>
                <a:gd name="connsiteX6" fmla="*/ 53115 w 57044"/>
                <a:gd name="connsiteY6" fmla="*/ 42462 h 56573"/>
                <a:gd name="connsiteX7" fmla="*/ 57045 w 57044"/>
                <a:gd name="connsiteY7" fmla="*/ 28224 h 56573"/>
                <a:gd name="connsiteX8" fmla="*/ 48678 w 57044"/>
                <a:gd name="connsiteY8" fmla="*/ 8316 h 56573"/>
                <a:gd name="connsiteX9" fmla="*/ 28395 w 57044"/>
                <a:gd name="connsiteY9" fmla="*/ 0 h 5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44" h="56573">
                  <a:moveTo>
                    <a:pt x="28395" y="0"/>
                  </a:moveTo>
                  <a:cubicBezTo>
                    <a:pt x="20663" y="0"/>
                    <a:pt x="13944" y="2772"/>
                    <a:pt x="8367" y="8316"/>
                  </a:cubicBezTo>
                  <a:cubicBezTo>
                    <a:pt x="2789" y="13860"/>
                    <a:pt x="0" y="20538"/>
                    <a:pt x="0" y="28224"/>
                  </a:cubicBezTo>
                  <a:cubicBezTo>
                    <a:pt x="0" y="36036"/>
                    <a:pt x="2789" y="42714"/>
                    <a:pt x="8367" y="48258"/>
                  </a:cubicBezTo>
                  <a:cubicBezTo>
                    <a:pt x="13944" y="53802"/>
                    <a:pt x="20663" y="56574"/>
                    <a:pt x="28395" y="56574"/>
                  </a:cubicBezTo>
                  <a:cubicBezTo>
                    <a:pt x="33593" y="56574"/>
                    <a:pt x="38410" y="55314"/>
                    <a:pt x="42720" y="52794"/>
                  </a:cubicBezTo>
                  <a:cubicBezTo>
                    <a:pt x="47030" y="50274"/>
                    <a:pt x="50453" y="46872"/>
                    <a:pt x="53115" y="42462"/>
                  </a:cubicBezTo>
                  <a:cubicBezTo>
                    <a:pt x="55777" y="38178"/>
                    <a:pt x="57045" y="33390"/>
                    <a:pt x="57045" y="28224"/>
                  </a:cubicBezTo>
                  <a:cubicBezTo>
                    <a:pt x="57045" y="20412"/>
                    <a:pt x="54256" y="13860"/>
                    <a:pt x="48678" y="8316"/>
                  </a:cubicBezTo>
                  <a:cubicBezTo>
                    <a:pt x="42847" y="2772"/>
                    <a:pt x="36128" y="0"/>
                    <a:pt x="28395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  <p:sp>
        <p:nvSpPr>
          <p:cNvPr id="11" name="Titel 10">
            <a:extLst>
              <a:ext uri="{FF2B5EF4-FFF2-40B4-BE49-F238E27FC236}">
                <a16:creationId xmlns:a16="http://schemas.microsoft.com/office/drawing/2014/main" id="{A61DA797-8454-4364-8770-8101AFDD41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4032000" cy="1883593"/>
          </a:xfrm>
        </p:spPr>
        <p:txBody>
          <a:bodyPr vert="horz" anchor="b"/>
          <a:lstStyle>
            <a:lvl1pPr rtl="0">
              <a:lnSpc>
                <a:spcPct val="85000"/>
              </a:lnSpc>
              <a:defRPr sz="4800" b="0">
                <a:solidFill>
                  <a:schemeClr val="accent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US"/>
              <a:t>Titl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FEAEEB5-CEA6-41B3-AE59-98285007A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3525" y="4357103"/>
            <a:ext cx="4032000" cy="246221"/>
          </a:xfrm>
        </p:spPr>
        <p:txBody>
          <a:bodyPr>
            <a:noAutofit/>
          </a:bodyPr>
          <a:lstStyle>
            <a:lvl1pPr marL="0" indent="0" rtl="0">
              <a:buNone/>
              <a:defRPr sz="1600">
                <a:solidFill>
                  <a:schemeClr val="accent1"/>
                </a:solidFill>
                <a:latin typeface="+mj-lt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line optional Inter Medium 16pt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80E2349F-1508-4D41-A46E-B4E8D0F7F0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3525" y="5688568"/>
            <a:ext cx="4032000" cy="369332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uthor, </a:t>
            </a:r>
            <a:br>
              <a:rPr lang="en-US"/>
            </a:br>
            <a:r>
              <a:rPr lang="en-US"/>
              <a:t>Place, Date Inter 12pt</a:t>
            </a:r>
          </a:p>
        </p:txBody>
      </p:sp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C44E781B-3F9A-4BE7-97BD-4332B650C4C2}"/>
              </a:ext>
            </a:extLst>
          </p:cNvPr>
          <p:cNvSpPr/>
          <p:nvPr/>
        </p:nvSpPr>
        <p:spPr bwMode="invGray">
          <a:xfrm>
            <a:off x="4591254" y="-1"/>
            <a:ext cx="7602228" cy="6858001"/>
          </a:xfrm>
          <a:custGeom>
            <a:avLst/>
            <a:gdLst>
              <a:gd name="connsiteX0" fmla="*/ 3293816 w 7602228"/>
              <a:gd name="connsiteY0" fmla="*/ 4038523 h 6858001"/>
              <a:gd name="connsiteX1" fmla="*/ 4309498 w 7602228"/>
              <a:gd name="connsiteY1" fmla="*/ 4038523 h 6858001"/>
              <a:gd name="connsiteX2" fmla="*/ 4309498 w 7602228"/>
              <a:gd name="connsiteY2" fmla="*/ 6858001 h 6858001"/>
              <a:gd name="connsiteX3" fmla="*/ 3293816 w 7602228"/>
              <a:gd name="connsiteY3" fmla="*/ 6858001 h 6858001"/>
              <a:gd name="connsiteX4" fmla="*/ 1268071 w 7602228"/>
              <a:gd name="connsiteY4" fmla="*/ 3540455 h 6858001"/>
              <a:gd name="connsiteX5" fmla="*/ 2395990 w 7602228"/>
              <a:gd name="connsiteY5" fmla="*/ 3540455 h 6858001"/>
              <a:gd name="connsiteX6" fmla="*/ 1128430 w 7602228"/>
              <a:gd name="connsiteY6" fmla="*/ 6074552 h 6858001"/>
              <a:gd name="connsiteX7" fmla="*/ 0 w 7602228"/>
              <a:gd name="connsiteY7" fmla="*/ 6074552 h 6858001"/>
              <a:gd name="connsiteX8" fmla="*/ 3037787 w 7602228"/>
              <a:gd name="connsiteY8" fmla="*/ 0 h 6858001"/>
              <a:gd name="connsiteX9" fmla="*/ 4565464 w 7602228"/>
              <a:gd name="connsiteY9" fmla="*/ 0 h 6858001"/>
              <a:gd name="connsiteX10" fmla="*/ 7602228 w 7602228"/>
              <a:gd name="connsiteY10" fmla="*/ 6076086 h 6858001"/>
              <a:gd name="connsiteX11" fmla="*/ 6474309 w 7602228"/>
              <a:gd name="connsiteY11" fmla="*/ 6076086 h 6858001"/>
              <a:gd name="connsiteX12" fmla="*/ 3801657 w 7602228"/>
              <a:gd name="connsiteY12" fmla="*/ 730206 h 6858001"/>
              <a:gd name="connsiteX13" fmla="*/ 3154686 w 7602228"/>
              <a:gd name="connsiteY13" fmla="*/ 2023126 h 6858001"/>
              <a:gd name="connsiteX14" fmla="*/ 2026256 w 7602228"/>
              <a:gd name="connsiteY14" fmla="*/ 2023126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602228" h="6858001">
                <a:moveTo>
                  <a:pt x="3293816" y="4038523"/>
                </a:moveTo>
                <a:lnTo>
                  <a:pt x="4309498" y="4038523"/>
                </a:lnTo>
                <a:lnTo>
                  <a:pt x="4309498" y="6858001"/>
                </a:lnTo>
                <a:lnTo>
                  <a:pt x="3293816" y="6858001"/>
                </a:lnTo>
                <a:close/>
                <a:moveTo>
                  <a:pt x="1268071" y="3540455"/>
                </a:moveTo>
                <a:lnTo>
                  <a:pt x="2395990" y="3540455"/>
                </a:lnTo>
                <a:lnTo>
                  <a:pt x="1128430" y="6074552"/>
                </a:lnTo>
                <a:lnTo>
                  <a:pt x="0" y="6074552"/>
                </a:lnTo>
                <a:close/>
                <a:moveTo>
                  <a:pt x="3037787" y="0"/>
                </a:moveTo>
                <a:lnTo>
                  <a:pt x="4565464" y="0"/>
                </a:lnTo>
                <a:lnTo>
                  <a:pt x="7602228" y="6076086"/>
                </a:lnTo>
                <a:lnTo>
                  <a:pt x="6474309" y="6076086"/>
                </a:lnTo>
                <a:lnTo>
                  <a:pt x="3801657" y="730206"/>
                </a:lnTo>
                <a:lnTo>
                  <a:pt x="3154686" y="2023126"/>
                </a:lnTo>
                <a:lnTo>
                  <a:pt x="2026256" y="2023126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8933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- blue -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3746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B38D6861-D900-46A8-B7EC-2D6AE501F62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44822 w 12192000"/>
              <a:gd name="connsiteY0" fmla="*/ 6525737 h 6858000"/>
              <a:gd name="connsiteX1" fmla="*/ 620244 w 12192000"/>
              <a:gd name="connsiteY1" fmla="*/ 6574870 h 6858000"/>
              <a:gd name="connsiteX2" fmla="*/ 647589 w 12192000"/>
              <a:gd name="connsiteY2" fmla="*/ 6574870 h 6858000"/>
              <a:gd name="connsiteX3" fmla="*/ 663359 w 12192000"/>
              <a:gd name="connsiteY3" fmla="*/ 6543410 h 6858000"/>
              <a:gd name="connsiteX4" fmla="*/ 728153 w 12192000"/>
              <a:gd name="connsiteY4" fmla="*/ 6673136 h 6858000"/>
              <a:gd name="connsiteX5" fmla="*/ 755498 w 12192000"/>
              <a:gd name="connsiteY5" fmla="*/ 6673136 h 6858000"/>
              <a:gd name="connsiteX6" fmla="*/ 681699 w 12192000"/>
              <a:gd name="connsiteY6" fmla="*/ 6525737 h 6858000"/>
              <a:gd name="connsiteX7" fmla="*/ 448200 w 12192000"/>
              <a:gd name="connsiteY7" fmla="*/ 6525716 h 6858000"/>
              <a:gd name="connsiteX8" fmla="*/ 448200 w 12192000"/>
              <a:gd name="connsiteY8" fmla="*/ 6574871 h 6858000"/>
              <a:gd name="connsiteX9" fmla="*/ 472778 w 12192000"/>
              <a:gd name="connsiteY9" fmla="*/ 6574871 h 6858000"/>
              <a:gd name="connsiteX10" fmla="*/ 472778 w 12192000"/>
              <a:gd name="connsiteY10" fmla="*/ 6550305 h 6858000"/>
              <a:gd name="connsiteX11" fmla="*/ 558811 w 12192000"/>
              <a:gd name="connsiteY11" fmla="*/ 6550305 h 6858000"/>
              <a:gd name="connsiteX12" fmla="*/ 558811 w 12192000"/>
              <a:gd name="connsiteY12" fmla="*/ 6525738 h 6858000"/>
              <a:gd name="connsiteX13" fmla="*/ 343191 w 12192000"/>
              <a:gd name="connsiteY13" fmla="*/ 6525716 h 6858000"/>
              <a:gd name="connsiteX14" fmla="*/ 269875 w 12192000"/>
              <a:gd name="connsiteY14" fmla="*/ 6599460 h 6858000"/>
              <a:gd name="connsiteX15" fmla="*/ 343191 w 12192000"/>
              <a:gd name="connsiteY15" fmla="*/ 6673137 h 6858000"/>
              <a:gd name="connsiteX16" fmla="*/ 411345 w 12192000"/>
              <a:gd name="connsiteY16" fmla="*/ 6673137 h 6858000"/>
              <a:gd name="connsiteX17" fmla="*/ 411345 w 12192000"/>
              <a:gd name="connsiteY17" fmla="*/ 6611710 h 6858000"/>
              <a:gd name="connsiteX18" fmla="*/ 448201 w 12192000"/>
              <a:gd name="connsiteY18" fmla="*/ 6611710 h 6858000"/>
              <a:gd name="connsiteX19" fmla="*/ 448201 w 12192000"/>
              <a:gd name="connsiteY19" fmla="*/ 6673115 h 6858000"/>
              <a:gd name="connsiteX20" fmla="*/ 546511 w 12192000"/>
              <a:gd name="connsiteY20" fmla="*/ 6673115 h 6858000"/>
              <a:gd name="connsiteX21" fmla="*/ 558789 w 12192000"/>
              <a:gd name="connsiteY21" fmla="*/ 6648549 h 6858000"/>
              <a:gd name="connsiteX22" fmla="*/ 472778 w 12192000"/>
              <a:gd name="connsiteY22" fmla="*/ 6648549 h 6858000"/>
              <a:gd name="connsiteX23" fmla="*/ 472778 w 12192000"/>
              <a:gd name="connsiteY23" fmla="*/ 6611710 h 6858000"/>
              <a:gd name="connsiteX24" fmla="*/ 601663 w 12192000"/>
              <a:gd name="connsiteY24" fmla="*/ 6611710 h 6858000"/>
              <a:gd name="connsiteX25" fmla="*/ 571089 w 12192000"/>
              <a:gd name="connsiteY25" fmla="*/ 6673115 h 6858000"/>
              <a:gd name="connsiteX26" fmla="*/ 598412 w 12192000"/>
              <a:gd name="connsiteY26" fmla="*/ 6673115 h 6858000"/>
              <a:gd name="connsiteX27" fmla="*/ 629140 w 12192000"/>
              <a:gd name="connsiteY27" fmla="*/ 6611710 h 6858000"/>
              <a:gd name="connsiteX28" fmla="*/ 681678 w 12192000"/>
              <a:gd name="connsiteY28" fmla="*/ 6611710 h 6858000"/>
              <a:gd name="connsiteX29" fmla="*/ 669400 w 12192000"/>
              <a:gd name="connsiteY29" fmla="*/ 6587165 h 6858000"/>
              <a:gd name="connsiteX30" fmla="*/ 349890 w 12192000"/>
              <a:gd name="connsiteY30" fmla="*/ 6587143 h 6858000"/>
              <a:gd name="connsiteX31" fmla="*/ 337612 w 12192000"/>
              <a:gd name="connsiteY31" fmla="*/ 6611710 h 6858000"/>
              <a:gd name="connsiteX32" fmla="*/ 386767 w 12192000"/>
              <a:gd name="connsiteY32" fmla="*/ 6611710 h 6858000"/>
              <a:gd name="connsiteX33" fmla="*/ 386767 w 12192000"/>
              <a:gd name="connsiteY33" fmla="*/ 6648549 h 6858000"/>
              <a:gd name="connsiteX34" fmla="*/ 343191 w 12192000"/>
              <a:gd name="connsiteY34" fmla="*/ 6648549 h 6858000"/>
              <a:gd name="connsiteX35" fmla="*/ 294343 w 12192000"/>
              <a:gd name="connsiteY35" fmla="*/ 6599438 h 6858000"/>
              <a:gd name="connsiteX36" fmla="*/ 343191 w 12192000"/>
              <a:gd name="connsiteY36" fmla="*/ 6550305 h 6858000"/>
              <a:gd name="connsiteX37" fmla="*/ 399001 w 12192000"/>
              <a:gd name="connsiteY37" fmla="*/ 6550305 h 6858000"/>
              <a:gd name="connsiteX38" fmla="*/ 399001 w 12192000"/>
              <a:gd name="connsiteY38" fmla="*/ 6525716 h 6858000"/>
              <a:gd name="connsiteX39" fmla="*/ 0 w 12192000"/>
              <a:gd name="connsiteY39" fmla="*/ 0 h 6858000"/>
              <a:gd name="connsiteX40" fmla="*/ 12192000 w 12192000"/>
              <a:gd name="connsiteY40" fmla="*/ 0 h 6858000"/>
              <a:gd name="connsiteX41" fmla="*/ 12192000 w 12192000"/>
              <a:gd name="connsiteY41" fmla="*/ 6858000 h 6858000"/>
              <a:gd name="connsiteX42" fmla="*/ 0 w 12192000"/>
              <a:gd name="connsiteY4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192000" h="6858000">
                <a:moveTo>
                  <a:pt x="644822" y="6525737"/>
                </a:moveTo>
                <a:lnTo>
                  <a:pt x="620244" y="6574870"/>
                </a:lnTo>
                <a:lnTo>
                  <a:pt x="647589" y="6574870"/>
                </a:lnTo>
                <a:lnTo>
                  <a:pt x="663359" y="6543410"/>
                </a:lnTo>
                <a:lnTo>
                  <a:pt x="728153" y="6673136"/>
                </a:lnTo>
                <a:lnTo>
                  <a:pt x="755498" y="6673136"/>
                </a:lnTo>
                <a:lnTo>
                  <a:pt x="681699" y="6525737"/>
                </a:lnTo>
                <a:close/>
                <a:moveTo>
                  <a:pt x="448200" y="6525716"/>
                </a:moveTo>
                <a:lnTo>
                  <a:pt x="448200" y="6574871"/>
                </a:lnTo>
                <a:lnTo>
                  <a:pt x="472778" y="6574871"/>
                </a:lnTo>
                <a:lnTo>
                  <a:pt x="472778" y="6550305"/>
                </a:lnTo>
                <a:lnTo>
                  <a:pt x="558811" y="6550305"/>
                </a:lnTo>
                <a:lnTo>
                  <a:pt x="558811" y="6525738"/>
                </a:lnTo>
                <a:close/>
                <a:moveTo>
                  <a:pt x="343191" y="6525716"/>
                </a:moveTo>
                <a:cubicBezTo>
                  <a:pt x="302777" y="6525716"/>
                  <a:pt x="269875" y="6558801"/>
                  <a:pt x="269875" y="6599460"/>
                </a:cubicBezTo>
                <a:cubicBezTo>
                  <a:pt x="269875" y="6640096"/>
                  <a:pt x="302777" y="6673137"/>
                  <a:pt x="343191" y="6673137"/>
                </a:cubicBezTo>
                <a:lnTo>
                  <a:pt x="411345" y="6673137"/>
                </a:lnTo>
                <a:lnTo>
                  <a:pt x="411345" y="6611710"/>
                </a:lnTo>
                <a:lnTo>
                  <a:pt x="448201" y="6611710"/>
                </a:lnTo>
                <a:lnTo>
                  <a:pt x="448201" y="6673115"/>
                </a:lnTo>
                <a:lnTo>
                  <a:pt x="546511" y="6673115"/>
                </a:lnTo>
                <a:lnTo>
                  <a:pt x="558789" y="6648549"/>
                </a:lnTo>
                <a:lnTo>
                  <a:pt x="472778" y="6648549"/>
                </a:lnTo>
                <a:lnTo>
                  <a:pt x="472778" y="6611710"/>
                </a:lnTo>
                <a:lnTo>
                  <a:pt x="601663" y="6611710"/>
                </a:lnTo>
                <a:lnTo>
                  <a:pt x="571089" y="6673115"/>
                </a:lnTo>
                <a:lnTo>
                  <a:pt x="598412" y="6673115"/>
                </a:lnTo>
                <a:lnTo>
                  <a:pt x="629140" y="6611710"/>
                </a:lnTo>
                <a:lnTo>
                  <a:pt x="681678" y="6611710"/>
                </a:lnTo>
                <a:lnTo>
                  <a:pt x="669400" y="6587165"/>
                </a:lnTo>
                <a:lnTo>
                  <a:pt x="349890" y="6587143"/>
                </a:lnTo>
                <a:lnTo>
                  <a:pt x="337612" y="6611710"/>
                </a:lnTo>
                <a:lnTo>
                  <a:pt x="386767" y="6611710"/>
                </a:lnTo>
                <a:lnTo>
                  <a:pt x="386767" y="6648549"/>
                </a:lnTo>
                <a:lnTo>
                  <a:pt x="343191" y="6648549"/>
                </a:lnTo>
                <a:cubicBezTo>
                  <a:pt x="316263" y="6648549"/>
                  <a:pt x="294343" y="6626617"/>
                  <a:pt x="294343" y="6599438"/>
                </a:cubicBezTo>
                <a:cubicBezTo>
                  <a:pt x="294343" y="6572259"/>
                  <a:pt x="316263" y="6550305"/>
                  <a:pt x="343191" y="6550305"/>
                </a:cubicBezTo>
                <a:lnTo>
                  <a:pt x="399001" y="6550305"/>
                </a:lnTo>
                <a:lnTo>
                  <a:pt x="399001" y="652571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4D9559E-510B-4DDB-8770-39233643DD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12000" y="3429000"/>
            <a:ext cx="4063998" cy="3428999"/>
          </a:xfrm>
          <a:solidFill>
            <a:schemeClr val="tx2"/>
          </a:solidFill>
        </p:spPr>
        <p:txBody>
          <a:bodyPr lIns="180000" tIns="108000" rIns="180000" bIns="72000"/>
          <a:lstStyle>
            <a:lvl1pPr marL="0" indent="0" rtl="0">
              <a:spcBef>
                <a:spcPts val="0"/>
              </a:spcBef>
              <a:buNone/>
              <a:defRPr sz="3000">
                <a:solidFill>
                  <a:schemeClr val="bg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Key message, </a:t>
            </a:r>
            <a:br>
              <a:rPr lang="en-US"/>
            </a:br>
            <a:r>
              <a:rPr lang="en-US"/>
              <a:t>Inter 30pt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5A4BAA6F-C015-46D0-8E54-95E2654FC0B0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840CF8BA-CE34-483A-AACD-1B9C7E2F98F9}" type="datetime4">
              <a:rPr lang="en-US" smtClean="0"/>
              <a:t>July 4, 2024</a:t>
            </a:fld>
            <a:endParaRPr lang="en-US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D4F04FDA-4216-44B6-8607-894B6264215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C2468A75-9618-4FC6-879B-B418A14C368E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4543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- white - full picture &amp; 6 boxe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8691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B38D6861-D900-46A8-B7EC-2D6AE501F62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44822 w 12192000"/>
              <a:gd name="connsiteY0" fmla="*/ 6525737 h 6858000"/>
              <a:gd name="connsiteX1" fmla="*/ 620244 w 12192000"/>
              <a:gd name="connsiteY1" fmla="*/ 6574870 h 6858000"/>
              <a:gd name="connsiteX2" fmla="*/ 647589 w 12192000"/>
              <a:gd name="connsiteY2" fmla="*/ 6574870 h 6858000"/>
              <a:gd name="connsiteX3" fmla="*/ 663359 w 12192000"/>
              <a:gd name="connsiteY3" fmla="*/ 6543410 h 6858000"/>
              <a:gd name="connsiteX4" fmla="*/ 728153 w 12192000"/>
              <a:gd name="connsiteY4" fmla="*/ 6673136 h 6858000"/>
              <a:gd name="connsiteX5" fmla="*/ 755498 w 12192000"/>
              <a:gd name="connsiteY5" fmla="*/ 6673136 h 6858000"/>
              <a:gd name="connsiteX6" fmla="*/ 681699 w 12192000"/>
              <a:gd name="connsiteY6" fmla="*/ 6525737 h 6858000"/>
              <a:gd name="connsiteX7" fmla="*/ 448200 w 12192000"/>
              <a:gd name="connsiteY7" fmla="*/ 6525716 h 6858000"/>
              <a:gd name="connsiteX8" fmla="*/ 448200 w 12192000"/>
              <a:gd name="connsiteY8" fmla="*/ 6574871 h 6858000"/>
              <a:gd name="connsiteX9" fmla="*/ 472778 w 12192000"/>
              <a:gd name="connsiteY9" fmla="*/ 6574871 h 6858000"/>
              <a:gd name="connsiteX10" fmla="*/ 472778 w 12192000"/>
              <a:gd name="connsiteY10" fmla="*/ 6550305 h 6858000"/>
              <a:gd name="connsiteX11" fmla="*/ 558811 w 12192000"/>
              <a:gd name="connsiteY11" fmla="*/ 6550305 h 6858000"/>
              <a:gd name="connsiteX12" fmla="*/ 558811 w 12192000"/>
              <a:gd name="connsiteY12" fmla="*/ 6525738 h 6858000"/>
              <a:gd name="connsiteX13" fmla="*/ 343191 w 12192000"/>
              <a:gd name="connsiteY13" fmla="*/ 6525716 h 6858000"/>
              <a:gd name="connsiteX14" fmla="*/ 269875 w 12192000"/>
              <a:gd name="connsiteY14" fmla="*/ 6599460 h 6858000"/>
              <a:gd name="connsiteX15" fmla="*/ 343191 w 12192000"/>
              <a:gd name="connsiteY15" fmla="*/ 6673137 h 6858000"/>
              <a:gd name="connsiteX16" fmla="*/ 411345 w 12192000"/>
              <a:gd name="connsiteY16" fmla="*/ 6673137 h 6858000"/>
              <a:gd name="connsiteX17" fmla="*/ 411345 w 12192000"/>
              <a:gd name="connsiteY17" fmla="*/ 6611710 h 6858000"/>
              <a:gd name="connsiteX18" fmla="*/ 448201 w 12192000"/>
              <a:gd name="connsiteY18" fmla="*/ 6611710 h 6858000"/>
              <a:gd name="connsiteX19" fmla="*/ 448201 w 12192000"/>
              <a:gd name="connsiteY19" fmla="*/ 6673115 h 6858000"/>
              <a:gd name="connsiteX20" fmla="*/ 546511 w 12192000"/>
              <a:gd name="connsiteY20" fmla="*/ 6673115 h 6858000"/>
              <a:gd name="connsiteX21" fmla="*/ 558789 w 12192000"/>
              <a:gd name="connsiteY21" fmla="*/ 6648549 h 6858000"/>
              <a:gd name="connsiteX22" fmla="*/ 472778 w 12192000"/>
              <a:gd name="connsiteY22" fmla="*/ 6648549 h 6858000"/>
              <a:gd name="connsiteX23" fmla="*/ 472778 w 12192000"/>
              <a:gd name="connsiteY23" fmla="*/ 6611710 h 6858000"/>
              <a:gd name="connsiteX24" fmla="*/ 601663 w 12192000"/>
              <a:gd name="connsiteY24" fmla="*/ 6611710 h 6858000"/>
              <a:gd name="connsiteX25" fmla="*/ 571089 w 12192000"/>
              <a:gd name="connsiteY25" fmla="*/ 6673115 h 6858000"/>
              <a:gd name="connsiteX26" fmla="*/ 598412 w 12192000"/>
              <a:gd name="connsiteY26" fmla="*/ 6673115 h 6858000"/>
              <a:gd name="connsiteX27" fmla="*/ 629140 w 12192000"/>
              <a:gd name="connsiteY27" fmla="*/ 6611710 h 6858000"/>
              <a:gd name="connsiteX28" fmla="*/ 681678 w 12192000"/>
              <a:gd name="connsiteY28" fmla="*/ 6611710 h 6858000"/>
              <a:gd name="connsiteX29" fmla="*/ 669400 w 12192000"/>
              <a:gd name="connsiteY29" fmla="*/ 6587165 h 6858000"/>
              <a:gd name="connsiteX30" fmla="*/ 349890 w 12192000"/>
              <a:gd name="connsiteY30" fmla="*/ 6587143 h 6858000"/>
              <a:gd name="connsiteX31" fmla="*/ 337612 w 12192000"/>
              <a:gd name="connsiteY31" fmla="*/ 6611710 h 6858000"/>
              <a:gd name="connsiteX32" fmla="*/ 386767 w 12192000"/>
              <a:gd name="connsiteY32" fmla="*/ 6611710 h 6858000"/>
              <a:gd name="connsiteX33" fmla="*/ 386767 w 12192000"/>
              <a:gd name="connsiteY33" fmla="*/ 6648549 h 6858000"/>
              <a:gd name="connsiteX34" fmla="*/ 343191 w 12192000"/>
              <a:gd name="connsiteY34" fmla="*/ 6648549 h 6858000"/>
              <a:gd name="connsiteX35" fmla="*/ 294343 w 12192000"/>
              <a:gd name="connsiteY35" fmla="*/ 6599438 h 6858000"/>
              <a:gd name="connsiteX36" fmla="*/ 343191 w 12192000"/>
              <a:gd name="connsiteY36" fmla="*/ 6550305 h 6858000"/>
              <a:gd name="connsiteX37" fmla="*/ 399001 w 12192000"/>
              <a:gd name="connsiteY37" fmla="*/ 6550305 h 6858000"/>
              <a:gd name="connsiteX38" fmla="*/ 399001 w 12192000"/>
              <a:gd name="connsiteY38" fmla="*/ 6525716 h 6858000"/>
              <a:gd name="connsiteX39" fmla="*/ 0 w 12192000"/>
              <a:gd name="connsiteY39" fmla="*/ 0 h 6858000"/>
              <a:gd name="connsiteX40" fmla="*/ 12192000 w 12192000"/>
              <a:gd name="connsiteY40" fmla="*/ 0 h 6858000"/>
              <a:gd name="connsiteX41" fmla="*/ 12192000 w 12192000"/>
              <a:gd name="connsiteY41" fmla="*/ 6858000 h 6858000"/>
              <a:gd name="connsiteX42" fmla="*/ 0 w 12192000"/>
              <a:gd name="connsiteY4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192000" h="6858000">
                <a:moveTo>
                  <a:pt x="644822" y="6525737"/>
                </a:moveTo>
                <a:lnTo>
                  <a:pt x="620244" y="6574870"/>
                </a:lnTo>
                <a:lnTo>
                  <a:pt x="647589" y="6574870"/>
                </a:lnTo>
                <a:lnTo>
                  <a:pt x="663359" y="6543410"/>
                </a:lnTo>
                <a:lnTo>
                  <a:pt x="728153" y="6673136"/>
                </a:lnTo>
                <a:lnTo>
                  <a:pt x="755498" y="6673136"/>
                </a:lnTo>
                <a:lnTo>
                  <a:pt x="681699" y="6525737"/>
                </a:lnTo>
                <a:close/>
                <a:moveTo>
                  <a:pt x="448200" y="6525716"/>
                </a:moveTo>
                <a:lnTo>
                  <a:pt x="448200" y="6574871"/>
                </a:lnTo>
                <a:lnTo>
                  <a:pt x="472778" y="6574871"/>
                </a:lnTo>
                <a:lnTo>
                  <a:pt x="472778" y="6550305"/>
                </a:lnTo>
                <a:lnTo>
                  <a:pt x="558811" y="6550305"/>
                </a:lnTo>
                <a:lnTo>
                  <a:pt x="558811" y="6525738"/>
                </a:lnTo>
                <a:close/>
                <a:moveTo>
                  <a:pt x="343191" y="6525716"/>
                </a:moveTo>
                <a:cubicBezTo>
                  <a:pt x="302777" y="6525716"/>
                  <a:pt x="269875" y="6558801"/>
                  <a:pt x="269875" y="6599460"/>
                </a:cubicBezTo>
                <a:cubicBezTo>
                  <a:pt x="269875" y="6640096"/>
                  <a:pt x="302777" y="6673137"/>
                  <a:pt x="343191" y="6673137"/>
                </a:cubicBezTo>
                <a:lnTo>
                  <a:pt x="411345" y="6673137"/>
                </a:lnTo>
                <a:lnTo>
                  <a:pt x="411345" y="6611710"/>
                </a:lnTo>
                <a:lnTo>
                  <a:pt x="448201" y="6611710"/>
                </a:lnTo>
                <a:lnTo>
                  <a:pt x="448201" y="6673115"/>
                </a:lnTo>
                <a:lnTo>
                  <a:pt x="546511" y="6673115"/>
                </a:lnTo>
                <a:lnTo>
                  <a:pt x="558789" y="6648549"/>
                </a:lnTo>
                <a:lnTo>
                  <a:pt x="472778" y="6648549"/>
                </a:lnTo>
                <a:lnTo>
                  <a:pt x="472778" y="6611710"/>
                </a:lnTo>
                <a:lnTo>
                  <a:pt x="601663" y="6611710"/>
                </a:lnTo>
                <a:lnTo>
                  <a:pt x="571089" y="6673115"/>
                </a:lnTo>
                <a:lnTo>
                  <a:pt x="598412" y="6673115"/>
                </a:lnTo>
                <a:lnTo>
                  <a:pt x="629140" y="6611710"/>
                </a:lnTo>
                <a:lnTo>
                  <a:pt x="681678" y="6611710"/>
                </a:lnTo>
                <a:lnTo>
                  <a:pt x="669400" y="6587165"/>
                </a:lnTo>
                <a:lnTo>
                  <a:pt x="349890" y="6587143"/>
                </a:lnTo>
                <a:lnTo>
                  <a:pt x="337612" y="6611710"/>
                </a:lnTo>
                <a:lnTo>
                  <a:pt x="386767" y="6611710"/>
                </a:lnTo>
                <a:lnTo>
                  <a:pt x="386767" y="6648549"/>
                </a:lnTo>
                <a:lnTo>
                  <a:pt x="343191" y="6648549"/>
                </a:lnTo>
                <a:cubicBezTo>
                  <a:pt x="316263" y="6648549"/>
                  <a:pt x="294343" y="6626617"/>
                  <a:pt x="294343" y="6599438"/>
                </a:cubicBezTo>
                <a:cubicBezTo>
                  <a:pt x="294343" y="6572259"/>
                  <a:pt x="316263" y="6550305"/>
                  <a:pt x="343191" y="6550305"/>
                </a:cubicBezTo>
                <a:lnTo>
                  <a:pt x="399001" y="6550305"/>
                </a:lnTo>
                <a:lnTo>
                  <a:pt x="399001" y="652571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4D9559E-510B-4DDB-8770-39233643DD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07597" y="1143000"/>
            <a:ext cx="2032000" cy="1714500"/>
          </a:xfrm>
          <a:solidFill>
            <a:schemeClr val="bg1"/>
          </a:solidFill>
        </p:spPr>
        <p:txBody>
          <a:bodyPr lIns="144000" tIns="108000" rIns="144000" bIns="108000" anchor="b"/>
          <a:lstStyle>
            <a:lvl1pPr marL="0" indent="0" rtl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cus, </a:t>
            </a:r>
            <a:br>
              <a:rPr lang="en-US"/>
            </a:br>
            <a:r>
              <a:rPr lang="en-US"/>
              <a:t>Inter 20p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FFC39CA-AAF4-4A62-AFEB-B29DAD367B1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78853" y="1143000"/>
            <a:ext cx="2032000" cy="1714500"/>
          </a:xfrm>
          <a:solidFill>
            <a:schemeClr val="bg1"/>
          </a:solidFill>
        </p:spPr>
        <p:txBody>
          <a:bodyPr lIns="144000" tIns="108000" rIns="144000" bIns="108000" anchor="b"/>
          <a:lstStyle>
            <a:lvl1pPr marL="0" indent="0" rtl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>
              <a:defRPr sz="20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2000">
                <a:solidFill>
                  <a:schemeClr val="accent1"/>
                </a:solidFill>
              </a:defRPr>
            </a:lvl4pPr>
            <a:lvl5pPr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Focus, </a:t>
            </a:r>
            <a:br>
              <a:rPr lang="en-US"/>
            </a:br>
            <a:r>
              <a:rPr lang="en-US"/>
              <a:t>Inter 20p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188615B-9C91-4199-B609-15D85C99660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44000" y="1143000"/>
            <a:ext cx="2032000" cy="1714500"/>
          </a:xfrm>
          <a:solidFill>
            <a:schemeClr val="bg1"/>
          </a:solidFill>
        </p:spPr>
        <p:txBody>
          <a:bodyPr lIns="144000" tIns="108000" rIns="144000" bIns="108000" anchor="b"/>
          <a:lstStyle>
            <a:lvl1pPr marL="0" indent="0" rtl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>
              <a:defRPr sz="20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2000">
                <a:solidFill>
                  <a:schemeClr val="accent1"/>
                </a:solidFill>
              </a:defRPr>
            </a:lvl4pPr>
            <a:lvl5pPr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Focus, </a:t>
            </a:r>
            <a:br>
              <a:rPr lang="en-US"/>
            </a:br>
            <a:r>
              <a:rPr lang="en-US"/>
              <a:t>Inter 20p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5E151CCA-BDEA-4728-997C-454B41E37DA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07597" y="4000500"/>
            <a:ext cx="2032000" cy="1714500"/>
          </a:xfrm>
          <a:solidFill>
            <a:schemeClr val="bg1"/>
          </a:solidFill>
        </p:spPr>
        <p:txBody>
          <a:bodyPr lIns="144000" tIns="108000" rIns="144000" bIns="108000" anchor="b"/>
          <a:lstStyle>
            <a:lvl1pPr marL="0" indent="0" rtl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0" indent="0">
              <a:buNone/>
              <a:defRPr sz="20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2000">
                <a:solidFill>
                  <a:schemeClr val="accent1"/>
                </a:solidFill>
              </a:defRPr>
            </a:lvl4pPr>
            <a:lvl5pPr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Focus, </a:t>
            </a:r>
            <a:br>
              <a:rPr lang="en-US"/>
            </a:br>
            <a:r>
              <a:rPr lang="en-US"/>
              <a:t>Inter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26E0D2A1-47C3-4004-BF20-803FEAD69B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78853" y="4000500"/>
            <a:ext cx="2032000" cy="1714500"/>
          </a:xfrm>
          <a:solidFill>
            <a:schemeClr val="bg1"/>
          </a:solidFill>
        </p:spPr>
        <p:txBody>
          <a:bodyPr lIns="144000" tIns="108000" rIns="144000" bIns="108000" anchor="b"/>
          <a:lstStyle>
            <a:lvl1pPr marL="0" indent="0" rtl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0" indent="0">
              <a:buNone/>
              <a:defRPr sz="20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2000">
                <a:solidFill>
                  <a:schemeClr val="accent1"/>
                </a:solidFill>
              </a:defRPr>
            </a:lvl4pPr>
            <a:lvl5pPr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Focus, </a:t>
            </a:r>
            <a:br>
              <a:rPr lang="en-US"/>
            </a:br>
            <a:r>
              <a:rPr lang="en-US"/>
              <a:t>Inter 20pt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03BE4DC-070F-49A9-A446-C60D47848A0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44000" y="4000500"/>
            <a:ext cx="2032000" cy="1714500"/>
          </a:xfrm>
          <a:solidFill>
            <a:schemeClr val="bg1"/>
          </a:solidFill>
        </p:spPr>
        <p:txBody>
          <a:bodyPr lIns="144000" tIns="108000" rIns="144000" bIns="108000" anchor="b"/>
          <a:lstStyle>
            <a:lvl1pPr marL="0" indent="0" rtl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>
              <a:defRPr sz="20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2000">
                <a:solidFill>
                  <a:schemeClr val="accent1"/>
                </a:solidFill>
              </a:defRPr>
            </a:lvl4pPr>
            <a:lvl5pPr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Focus, </a:t>
            </a:r>
            <a:br>
              <a:rPr lang="en-US"/>
            </a:br>
            <a:r>
              <a:rPr lang="en-US"/>
              <a:t>Inter 20pt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5A4BAA6F-C015-46D0-8E54-95E2654FC0B0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E4EEDFBC-61C6-430E-B072-169DA6F726B9}" type="datetime4">
              <a:rPr lang="en-US" smtClean="0"/>
              <a:t>July 4, 2024</a:t>
            </a:fld>
            <a:endParaRPr lang="en-US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D4F04FDA-4216-44B6-8607-894B6264215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C2468A75-9618-4FC6-879B-B418A14C368E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18513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3623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Textplatzhalter 92">
            <a:extLst>
              <a:ext uri="{FF2B5EF4-FFF2-40B4-BE49-F238E27FC236}">
                <a16:creationId xmlns:a16="http://schemas.microsoft.com/office/drawing/2014/main" id="{2137BC8D-CBBB-4D34-889C-8A187B67F1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0000" y="2683662"/>
            <a:ext cx="11664950" cy="719428"/>
          </a:xfrm>
        </p:spPr>
        <p:txBody>
          <a:bodyPr wrap="square">
            <a:spAutoFit/>
          </a:bodyPr>
          <a:lstStyle>
            <a:lvl1pPr marL="0" indent="0" rtl="0">
              <a:lnSpc>
                <a:spcPct val="85000"/>
              </a:lnSpc>
              <a:buNone/>
              <a:defRPr sz="5500" cap="all" baseline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  <a:lvl2pPr marL="0" indent="0" rtl="0">
              <a:spcBef>
                <a:spcPts val="240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/>
              <a:t>THANK YOU</a:t>
            </a: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9411C6F4-4A8E-4A90-9AF2-882241B4FFF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305ECCBE-442F-45EF-8A3C-8EF672B184B3}" type="datetime4">
              <a:rPr lang="en-US" smtClean="0"/>
              <a:t>July 4, 2024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CAFB210-046F-423B-85DC-6A56724C18F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F3AF5274-F30F-418E-9F88-CB80224F334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926905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5213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Textplatzhalter 92">
            <a:extLst>
              <a:ext uri="{FF2B5EF4-FFF2-40B4-BE49-F238E27FC236}">
                <a16:creationId xmlns:a16="http://schemas.microsoft.com/office/drawing/2014/main" id="{2137BC8D-CBBB-4D34-889C-8A187B67F1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0000" y="2683662"/>
            <a:ext cx="11664950" cy="719428"/>
          </a:xfrm>
        </p:spPr>
        <p:txBody>
          <a:bodyPr wrap="square">
            <a:spAutoFit/>
          </a:bodyPr>
          <a:lstStyle>
            <a:lvl1pPr marL="0" indent="0" rtl="0">
              <a:lnSpc>
                <a:spcPct val="85000"/>
              </a:lnSpc>
              <a:buNone/>
              <a:defRPr sz="5500" cap="all" baseline="0">
                <a:solidFill>
                  <a:schemeClr val="accent1"/>
                </a:solidFill>
                <a:latin typeface="GEA Sans Bold" panose="00000500000000000000" pitchFamily="2" charset="0"/>
              </a:defRPr>
            </a:lvl1pPr>
            <a:lvl2pPr marL="0" indent="0" rtl="0">
              <a:spcBef>
                <a:spcPts val="240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/>
              <a:t>THANK YOU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9411C6F4-4A8E-4A90-9AF2-882241B4FFF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fld id="{D8C75B3F-AFC1-4697-B52C-DA96EB08FE38}" type="datetime4">
              <a:rPr lang="en-US" smtClean="0"/>
              <a:t>July 4, 2024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CAFB210-046F-423B-85DC-6A56724C18F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F3AF5274-F30F-418E-9F88-CB80224F334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3273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7845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4738F76F-C2DB-4B34-9BAC-06F432009917}"/>
              </a:ext>
            </a:extLst>
          </p:cNvPr>
          <p:cNvGrpSpPr/>
          <p:nvPr/>
        </p:nvGrpSpPr>
        <p:grpSpPr bwMode="black">
          <a:xfrm>
            <a:off x="3017104" y="2869119"/>
            <a:ext cx="6157792" cy="1119761"/>
            <a:chOff x="3017104" y="2869119"/>
            <a:chExt cx="6157792" cy="1119761"/>
          </a:xfrm>
          <a:solidFill>
            <a:schemeClr val="bg1"/>
          </a:solidFill>
        </p:grpSpPr>
        <p:sp>
          <p:nvSpPr>
            <p:cNvPr id="48" name="Freihandform 148">
              <a:extLst>
                <a:ext uri="{FF2B5EF4-FFF2-40B4-BE49-F238E27FC236}">
                  <a16:creationId xmlns:a16="http://schemas.microsoft.com/office/drawing/2014/main" id="{60AD947E-5C1C-4CAA-8DB7-0110EF336C27}"/>
                </a:ext>
              </a:extLst>
            </p:cNvPr>
            <p:cNvSpPr/>
            <p:nvPr/>
          </p:nvSpPr>
          <p:spPr bwMode="black">
            <a:xfrm>
              <a:off x="5655868" y="2880585"/>
              <a:ext cx="1018566" cy="1103885"/>
            </a:xfrm>
            <a:custGeom>
              <a:avLst/>
              <a:gdLst>
                <a:gd name="connsiteX0" fmla="*/ 462697 w 1018566"/>
                <a:gd name="connsiteY0" fmla="*/ 0 h 1103885"/>
                <a:gd name="connsiteX1" fmla="*/ 185079 w 1018566"/>
                <a:gd name="connsiteY1" fmla="*/ 0 h 1103885"/>
                <a:gd name="connsiteX2" fmla="*/ 0 w 1018566"/>
                <a:gd name="connsiteY2" fmla="*/ 368046 h 1103885"/>
                <a:gd name="connsiteX3" fmla="*/ 205995 w 1018566"/>
                <a:gd name="connsiteY3" fmla="*/ 368046 h 1103885"/>
                <a:gd name="connsiteX4" fmla="*/ 324648 w 1018566"/>
                <a:gd name="connsiteY4" fmla="*/ 132300 h 1103885"/>
                <a:gd name="connsiteX5" fmla="*/ 812698 w 1018566"/>
                <a:gd name="connsiteY5" fmla="*/ 1103886 h 1103885"/>
                <a:gd name="connsiteX6" fmla="*/ 1018566 w 1018566"/>
                <a:gd name="connsiteY6" fmla="*/ 1103886 h 1103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8566" h="1103885">
                  <a:moveTo>
                    <a:pt x="462697" y="0"/>
                  </a:moveTo>
                  <a:lnTo>
                    <a:pt x="185079" y="0"/>
                  </a:lnTo>
                  <a:lnTo>
                    <a:pt x="0" y="368046"/>
                  </a:lnTo>
                  <a:lnTo>
                    <a:pt x="205995" y="368046"/>
                  </a:lnTo>
                  <a:lnTo>
                    <a:pt x="324648" y="132300"/>
                  </a:lnTo>
                  <a:lnTo>
                    <a:pt x="812698" y="1103886"/>
                  </a:lnTo>
                  <a:lnTo>
                    <a:pt x="1018566" y="1103886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49" name="Freihandform 149">
              <a:extLst>
                <a:ext uri="{FF2B5EF4-FFF2-40B4-BE49-F238E27FC236}">
                  <a16:creationId xmlns:a16="http://schemas.microsoft.com/office/drawing/2014/main" id="{337F32C1-0D17-450E-9DFE-1F6C9CBE7504}"/>
                </a:ext>
              </a:extLst>
            </p:cNvPr>
            <p:cNvSpPr/>
            <p:nvPr/>
          </p:nvSpPr>
          <p:spPr bwMode="black">
            <a:xfrm>
              <a:off x="3017104" y="2880458"/>
              <a:ext cx="3101461" cy="1104011"/>
            </a:xfrm>
            <a:custGeom>
              <a:avLst/>
              <a:gdLst>
                <a:gd name="connsiteX0" fmla="*/ 3008922 w 3101461"/>
                <a:gd name="connsiteY0" fmla="*/ 460152 h 1104011"/>
                <a:gd name="connsiteX1" fmla="*/ 602646 w 3101461"/>
                <a:gd name="connsiteY1" fmla="*/ 460152 h 1104011"/>
                <a:gd name="connsiteX2" fmla="*/ 510107 w 3101461"/>
                <a:gd name="connsiteY2" fmla="*/ 644112 h 1104011"/>
                <a:gd name="connsiteX3" fmla="*/ 880264 w 3101461"/>
                <a:gd name="connsiteY3" fmla="*/ 644112 h 1104011"/>
                <a:gd name="connsiteX4" fmla="*/ 880264 w 3101461"/>
                <a:gd name="connsiteY4" fmla="*/ 920052 h 1104011"/>
                <a:gd name="connsiteX5" fmla="*/ 552193 w 3101461"/>
                <a:gd name="connsiteY5" fmla="*/ 920052 h 1104011"/>
                <a:gd name="connsiteX6" fmla="*/ 184191 w 3101461"/>
                <a:gd name="connsiteY6" fmla="*/ 552258 h 1104011"/>
                <a:gd name="connsiteX7" fmla="*/ 552193 w 3101461"/>
                <a:gd name="connsiteY7" fmla="*/ 184086 h 1104011"/>
                <a:gd name="connsiteX8" fmla="*/ 972550 w 3101461"/>
                <a:gd name="connsiteY8" fmla="*/ 184086 h 1104011"/>
                <a:gd name="connsiteX9" fmla="*/ 972550 w 3101461"/>
                <a:gd name="connsiteY9" fmla="*/ 0 h 1104011"/>
                <a:gd name="connsiteX10" fmla="*/ 552193 w 3101461"/>
                <a:gd name="connsiteY10" fmla="*/ 0 h 1104011"/>
                <a:gd name="connsiteX11" fmla="*/ 0 w 3101461"/>
                <a:gd name="connsiteY11" fmla="*/ 552258 h 1104011"/>
                <a:gd name="connsiteX12" fmla="*/ 552193 w 3101461"/>
                <a:gd name="connsiteY12" fmla="*/ 1104012 h 1104011"/>
                <a:gd name="connsiteX13" fmla="*/ 1065470 w 3101461"/>
                <a:gd name="connsiteY13" fmla="*/ 1104012 h 1104011"/>
                <a:gd name="connsiteX14" fmla="*/ 1065470 w 3101461"/>
                <a:gd name="connsiteY14" fmla="*/ 644112 h 1104011"/>
                <a:gd name="connsiteX15" fmla="*/ 1343088 w 3101461"/>
                <a:gd name="connsiteY15" fmla="*/ 644112 h 1104011"/>
                <a:gd name="connsiteX16" fmla="*/ 1343088 w 3101461"/>
                <a:gd name="connsiteY16" fmla="*/ 1104012 h 1104011"/>
                <a:gd name="connsiteX17" fmla="*/ 2083529 w 3101461"/>
                <a:gd name="connsiteY17" fmla="*/ 1104012 h 1104011"/>
                <a:gd name="connsiteX18" fmla="*/ 2176068 w 3101461"/>
                <a:gd name="connsiteY18" fmla="*/ 920052 h 1104011"/>
                <a:gd name="connsiteX19" fmla="*/ 1528166 w 3101461"/>
                <a:gd name="connsiteY19" fmla="*/ 920052 h 1104011"/>
                <a:gd name="connsiteX20" fmla="*/ 1528166 w 3101461"/>
                <a:gd name="connsiteY20" fmla="*/ 644112 h 1104011"/>
                <a:gd name="connsiteX21" fmla="*/ 2498815 w 3101461"/>
                <a:gd name="connsiteY21" fmla="*/ 644112 h 1104011"/>
                <a:gd name="connsiteX22" fmla="*/ 2268608 w 3101461"/>
                <a:gd name="connsiteY22" fmla="*/ 1104012 h 1104011"/>
                <a:gd name="connsiteX23" fmla="*/ 2474476 w 3101461"/>
                <a:gd name="connsiteY23" fmla="*/ 1104012 h 1104011"/>
                <a:gd name="connsiteX24" fmla="*/ 2705824 w 3101461"/>
                <a:gd name="connsiteY24" fmla="*/ 644112 h 1104011"/>
                <a:gd name="connsiteX25" fmla="*/ 3101461 w 3101461"/>
                <a:gd name="connsiteY25" fmla="*/ 644112 h 1104011"/>
                <a:gd name="connsiteX26" fmla="*/ 3008922 w 3101461"/>
                <a:gd name="connsiteY26" fmla="*/ 460152 h 110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01461" h="1104011">
                  <a:moveTo>
                    <a:pt x="3008922" y="460152"/>
                  </a:moveTo>
                  <a:lnTo>
                    <a:pt x="602646" y="460152"/>
                  </a:lnTo>
                  <a:lnTo>
                    <a:pt x="510107" y="644112"/>
                  </a:lnTo>
                  <a:lnTo>
                    <a:pt x="880264" y="644112"/>
                  </a:lnTo>
                  <a:lnTo>
                    <a:pt x="880264" y="920052"/>
                  </a:lnTo>
                  <a:lnTo>
                    <a:pt x="552193" y="920052"/>
                  </a:lnTo>
                  <a:cubicBezTo>
                    <a:pt x="349368" y="920052"/>
                    <a:pt x="184191" y="755748"/>
                    <a:pt x="184191" y="552258"/>
                  </a:cubicBezTo>
                  <a:cubicBezTo>
                    <a:pt x="184191" y="348768"/>
                    <a:pt x="349241" y="184086"/>
                    <a:pt x="552193" y="184086"/>
                  </a:cubicBezTo>
                  <a:lnTo>
                    <a:pt x="972550" y="184086"/>
                  </a:lnTo>
                  <a:lnTo>
                    <a:pt x="972550" y="0"/>
                  </a:lnTo>
                  <a:lnTo>
                    <a:pt x="552193" y="0"/>
                  </a:lnTo>
                  <a:cubicBezTo>
                    <a:pt x="247701" y="0"/>
                    <a:pt x="0" y="247716"/>
                    <a:pt x="0" y="552258"/>
                  </a:cubicBezTo>
                  <a:cubicBezTo>
                    <a:pt x="0" y="856800"/>
                    <a:pt x="247701" y="1104012"/>
                    <a:pt x="552193" y="1104012"/>
                  </a:cubicBezTo>
                  <a:lnTo>
                    <a:pt x="1065470" y="1104012"/>
                  </a:lnTo>
                  <a:lnTo>
                    <a:pt x="1065470" y="644112"/>
                  </a:lnTo>
                  <a:lnTo>
                    <a:pt x="1343088" y="644112"/>
                  </a:lnTo>
                  <a:lnTo>
                    <a:pt x="1343088" y="1104012"/>
                  </a:lnTo>
                  <a:lnTo>
                    <a:pt x="2083529" y="1104012"/>
                  </a:lnTo>
                  <a:lnTo>
                    <a:pt x="2176068" y="920052"/>
                  </a:lnTo>
                  <a:lnTo>
                    <a:pt x="1528166" y="920052"/>
                  </a:lnTo>
                  <a:lnTo>
                    <a:pt x="1528166" y="644112"/>
                  </a:lnTo>
                  <a:lnTo>
                    <a:pt x="2498815" y="644112"/>
                  </a:lnTo>
                  <a:lnTo>
                    <a:pt x="2268608" y="1104012"/>
                  </a:lnTo>
                  <a:lnTo>
                    <a:pt x="2474476" y="1104012"/>
                  </a:lnTo>
                  <a:lnTo>
                    <a:pt x="2705824" y="644112"/>
                  </a:lnTo>
                  <a:lnTo>
                    <a:pt x="3101461" y="644112"/>
                  </a:lnTo>
                  <a:lnTo>
                    <a:pt x="3008922" y="46015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0" name="Freihandform 150">
              <a:extLst>
                <a:ext uri="{FF2B5EF4-FFF2-40B4-BE49-F238E27FC236}">
                  <a16:creationId xmlns:a16="http://schemas.microsoft.com/office/drawing/2014/main" id="{C471FC87-338A-4010-A01B-39CFCC799040}"/>
                </a:ext>
              </a:extLst>
            </p:cNvPr>
            <p:cNvSpPr/>
            <p:nvPr/>
          </p:nvSpPr>
          <p:spPr bwMode="black">
            <a:xfrm>
              <a:off x="4360064" y="2880458"/>
              <a:ext cx="833107" cy="368172"/>
            </a:xfrm>
            <a:custGeom>
              <a:avLst/>
              <a:gdLst>
                <a:gd name="connsiteX0" fmla="*/ 185205 w 833107"/>
                <a:gd name="connsiteY0" fmla="*/ 184086 h 368172"/>
                <a:gd name="connsiteX1" fmla="*/ 833107 w 833107"/>
                <a:gd name="connsiteY1" fmla="*/ 184212 h 368172"/>
                <a:gd name="connsiteX2" fmla="*/ 833107 w 833107"/>
                <a:gd name="connsiteY2" fmla="*/ 126 h 368172"/>
                <a:gd name="connsiteX3" fmla="*/ 0 w 833107"/>
                <a:gd name="connsiteY3" fmla="*/ 0 h 368172"/>
                <a:gd name="connsiteX4" fmla="*/ 0 w 833107"/>
                <a:gd name="connsiteY4" fmla="*/ 368172 h 368172"/>
                <a:gd name="connsiteX5" fmla="*/ 185205 w 833107"/>
                <a:gd name="connsiteY5" fmla="*/ 368172 h 36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3107" h="368172">
                  <a:moveTo>
                    <a:pt x="185205" y="184086"/>
                  </a:moveTo>
                  <a:lnTo>
                    <a:pt x="833107" y="184212"/>
                  </a:lnTo>
                  <a:lnTo>
                    <a:pt x="833107" y="126"/>
                  </a:lnTo>
                  <a:lnTo>
                    <a:pt x="0" y="0"/>
                  </a:lnTo>
                  <a:lnTo>
                    <a:pt x="0" y="368172"/>
                  </a:lnTo>
                  <a:lnTo>
                    <a:pt x="185205" y="36817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5" name="Freihandform 152">
              <a:extLst>
                <a:ext uri="{FF2B5EF4-FFF2-40B4-BE49-F238E27FC236}">
                  <a16:creationId xmlns:a16="http://schemas.microsoft.com/office/drawing/2014/main" id="{98D45670-329C-4FE0-BBE8-C5276C544C5B}"/>
                </a:ext>
              </a:extLst>
            </p:cNvPr>
            <p:cNvSpPr/>
            <p:nvPr/>
          </p:nvSpPr>
          <p:spPr bwMode="black">
            <a:xfrm>
              <a:off x="6951799" y="2880711"/>
              <a:ext cx="184951" cy="290429"/>
            </a:xfrm>
            <a:custGeom>
              <a:avLst/>
              <a:gdLst>
                <a:gd name="connsiteX0" fmla="*/ 184952 w 184951"/>
                <a:gd name="connsiteY0" fmla="*/ 252630 h 290429"/>
                <a:gd name="connsiteX1" fmla="*/ 44114 w 184951"/>
                <a:gd name="connsiteY1" fmla="*/ 252630 h 290429"/>
                <a:gd name="connsiteX2" fmla="*/ 44114 w 184951"/>
                <a:gd name="connsiteY2" fmla="*/ 163800 h 290429"/>
                <a:gd name="connsiteX3" fmla="*/ 173669 w 184951"/>
                <a:gd name="connsiteY3" fmla="*/ 163800 h 290429"/>
                <a:gd name="connsiteX4" fmla="*/ 173669 w 184951"/>
                <a:gd name="connsiteY4" fmla="*/ 126252 h 290429"/>
                <a:gd name="connsiteX5" fmla="*/ 44114 w 184951"/>
                <a:gd name="connsiteY5" fmla="*/ 126252 h 290429"/>
                <a:gd name="connsiteX6" fmla="*/ 44114 w 184951"/>
                <a:gd name="connsiteY6" fmla="*/ 37800 h 290429"/>
                <a:gd name="connsiteX7" fmla="*/ 183177 w 184951"/>
                <a:gd name="connsiteY7" fmla="*/ 37800 h 290429"/>
                <a:gd name="connsiteX8" fmla="*/ 183177 w 184951"/>
                <a:gd name="connsiteY8" fmla="*/ 0 h 290429"/>
                <a:gd name="connsiteX9" fmla="*/ 0 w 184951"/>
                <a:gd name="connsiteY9" fmla="*/ 0 h 290429"/>
                <a:gd name="connsiteX10" fmla="*/ 0 w 184951"/>
                <a:gd name="connsiteY10" fmla="*/ 290430 h 290429"/>
                <a:gd name="connsiteX11" fmla="*/ 184952 w 184951"/>
                <a:gd name="connsiteY11" fmla="*/ 290430 h 290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4951" h="290429">
                  <a:moveTo>
                    <a:pt x="184952" y="252630"/>
                  </a:moveTo>
                  <a:lnTo>
                    <a:pt x="44114" y="252630"/>
                  </a:lnTo>
                  <a:lnTo>
                    <a:pt x="44114" y="163800"/>
                  </a:lnTo>
                  <a:lnTo>
                    <a:pt x="173669" y="163800"/>
                  </a:lnTo>
                  <a:lnTo>
                    <a:pt x="173669" y="126252"/>
                  </a:lnTo>
                  <a:lnTo>
                    <a:pt x="44114" y="126252"/>
                  </a:lnTo>
                  <a:lnTo>
                    <a:pt x="44114" y="37800"/>
                  </a:lnTo>
                  <a:lnTo>
                    <a:pt x="183177" y="37800"/>
                  </a:lnTo>
                  <a:lnTo>
                    <a:pt x="183177" y="0"/>
                  </a:lnTo>
                  <a:lnTo>
                    <a:pt x="0" y="0"/>
                  </a:lnTo>
                  <a:lnTo>
                    <a:pt x="0" y="290430"/>
                  </a:lnTo>
                  <a:lnTo>
                    <a:pt x="184952" y="29043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6" name="Freihandform 153">
              <a:extLst>
                <a:ext uri="{FF2B5EF4-FFF2-40B4-BE49-F238E27FC236}">
                  <a16:creationId xmlns:a16="http://schemas.microsoft.com/office/drawing/2014/main" id="{1345E2B1-7126-4AC8-B029-DD6F2C0B21A6}"/>
                </a:ext>
              </a:extLst>
            </p:cNvPr>
            <p:cNvSpPr/>
            <p:nvPr/>
          </p:nvSpPr>
          <p:spPr bwMode="black">
            <a:xfrm>
              <a:off x="7191007" y="2950388"/>
              <a:ext cx="182670" cy="220625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665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4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7" name="Freihandform 154">
              <a:extLst>
                <a:ext uri="{FF2B5EF4-FFF2-40B4-BE49-F238E27FC236}">
                  <a16:creationId xmlns:a16="http://schemas.microsoft.com/office/drawing/2014/main" id="{8538C58C-0D1A-4DA6-A397-057C88D40376}"/>
                </a:ext>
              </a:extLst>
            </p:cNvPr>
            <p:cNvSpPr/>
            <p:nvPr/>
          </p:nvSpPr>
          <p:spPr bwMode="black">
            <a:xfrm>
              <a:off x="7420960" y="2950515"/>
              <a:ext cx="200417" cy="306306"/>
            </a:xfrm>
            <a:custGeom>
              <a:avLst/>
              <a:gdLst>
                <a:gd name="connsiteX0" fmla="*/ 151739 w 200417"/>
                <a:gd name="connsiteY0" fmla="*/ 297738 h 306306"/>
                <a:gd name="connsiteX1" fmla="*/ 187234 w 200417"/>
                <a:gd name="connsiteY1" fmla="*/ 271152 h 306306"/>
                <a:gd name="connsiteX2" fmla="*/ 200417 w 200417"/>
                <a:gd name="connsiteY2" fmla="*/ 225414 h 306306"/>
                <a:gd name="connsiteX3" fmla="*/ 200417 w 200417"/>
                <a:gd name="connsiteY3" fmla="*/ 2772 h 306306"/>
                <a:gd name="connsiteX4" fmla="*/ 158585 w 200417"/>
                <a:gd name="connsiteY4" fmla="*/ 2772 h 306306"/>
                <a:gd name="connsiteX5" fmla="*/ 158585 w 200417"/>
                <a:gd name="connsiteY5" fmla="*/ 38052 h 306306"/>
                <a:gd name="connsiteX6" fmla="*/ 155415 w 200417"/>
                <a:gd name="connsiteY6" fmla="*/ 38052 h 306306"/>
                <a:gd name="connsiteX7" fmla="*/ 144513 w 200417"/>
                <a:gd name="connsiteY7" fmla="*/ 22302 h 306306"/>
                <a:gd name="connsiteX8" fmla="*/ 124865 w 200417"/>
                <a:gd name="connsiteY8" fmla="*/ 6678 h 306306"/>
                <a:gd name="connsiteX9" fmla="*/ 91905 w 200417"/>
                <a:gd name="connsiteY9" fmla="*/ 0 h 306306"/>
                <a:gd name="connsiteX10" fmla="*/ 44622 w 200417"/>
                <a:gd name="connsiteY10" fmla="*/ 13230 h 306306"/>
                <a:gd name="connsiteX11" fmla="*/ 11916 w 200417"/>
                <a:gd name="connsiteY11" fmla="*/ 51282 h 306306"/>
                <a:gd name="connsiteX12" fmla="*/ 0 w 200417"/>
                <a:gd name="connsiteY12" fmla="*/ 110880 h 306306"/>
                <a:gd name="connsiteX13" fmla="*/ 12043 w 200417"/>
                <a:gd name="connsiteY13" fmla="*/ 169344 h 306306"/>
                <a:gd name="connsiteX14" fmla="*/ 44875 w 200417"/>
                <a:gd name="connsiteY14" fmla="*/ 205254 h 306306"/>
                <a:gd name="connsiteX15" fmla="*/ 91525 w 200417"/>
                <a:gd name="connsiteY15" fmla="*/ 217350 h 306306"/>
                <a:gd name="connsiteX16" fmla="*/ 124231 w 200417"/>
                <a:gd name="connsiteY16" fmla="*/ 211050 h 306306"/>
                <a:gd name="connsiteX17" fmla="*/ 144007 w 200417"/>
                <a:gd name="connsiteY17" fmla="*/ 196308 h 306306"/>
                <a:gd name="connsiteX18" fmla="*/ 155035 w 200417"/>
                <a:gd name="connsiteY18" fmla="*/ 180810 h 306306"/>
                <a:gd name="connsiteX19" fmla="*/ 157697 w 200417"/>
                <a:gd name="connsiteY19" fmla="*/ 180810 h 306306"/>
                <a:gd name="connsiteX20" fmla="*/ 157697 w 200417"/>
                <a:gd name="connsiteY20" fmla="*/ 223650 h 306306"/>
                <a:gd name="connsiteX21" fmla="*/ 141851 w 200417"/>
                <a:gd name="connsiteY21" fmla="*/ 260568 h 306306"/>
                <a:gd name="connsiteX22" fmla="*/ 101793 w 200417"/>
                <a:gd name="connsiteY22" fmla="*/ 272160 h 306306"/>
                <a:gd name="connsiteX23" fmla="*/ 72891 w 200417"/>
                <a:gd name="connsiteY23" fmla="*/ 267246 h 306306"/>
                <a:gd name="connsiteX24" fmla="*/ 55270 w 200417"/>
                <a:gd name="connsiteY24" fmla="*/ 255276 h 306306"/>
                <a:gd name="connsiteX25" fmla="*/ 44875 w 200417"/>
                <a:gd name="connsiteY25" fmla="*/ 242424 h 306306"/>
                <a:gd name="connsiteX26" fmla="*/ 8240 w 200417"/>
                <a:gd name="connsiteY26" fmla="*/ 257418 h 306306"/>
                <a:gd name="connsiteX27" fmla="*/ 25860 w 200417"/>
                <a:gd name="connsiteY27" fmla="*/ 281610 h 306306"/>
                <a:gd name="connsiteX28" fmla="*/ 56411 w 200417"/>
                <a:gd name="connsiteY28" fmla="*/ 299502 h 306306"/>
                <a:gd name="connsiteX29" fmla="*/ 101286 w 200417"/>
                <a:gd name="connsiteY29" fmla="*/ 306306 h 306306"/>
                <a:gd name="connsiteX30" fmla="*/ 151739 w 200417"/>
                <a:gd name="connsiteY30" fmla="*/ 297738 h 306306"/>
                <a:gd name="connsiteX31" fmla="*/ 151612 w 200417"/>
                <a:gd name="connsiteY31" fmla="*/ 148932 h 306306"/>
                <a:gd name="connsiteX32" fmla="*/ 132217 w 200417"/>
                <a:gd name="connsiteY32" fmla="*/ 173628 h 306306"/>
                <a:gd name="connsiteX33" fmla="*/ 101033 w 200417"/>
                <a:gd name="connsiteY33" fmla="*/ 182196 h 306306"/>
                <a:gd name="connsiteX34" fmla="*/ 69214 w 200417"/>
                <a:gd name="connsiteY34" fmla="*/ 173124 h 306306"/>
                <a:gd name="connsiteX35" fmla="*/ 49819 w 200417"/>
                <a:gd name="connsiteY35" fmla="*/ 147924 h 306306"/>
                <a:gd name="connsiteX36" fmla="*/ 43227 w 200417"/>
                <a:gd name="connsiteY36" fmla="*/ 110376 h 306306"/>
                <a:gd name="connsiteX37" fmla="*/ 49693 w 200417"/>
                <a:gd name="connsiteY37" fmla="*/ 72702 h 306306"/>
                <a:gd name="connsiteX38" fmla="*/ 68961 w 200417"/>
                <a:gd name="connsiteY38" fmla="*/ 45990 h 306306"/>
                <a:gd name="connsiteX39" fmla="*/ 101033 w 200417"/>
                <a:gd name="connsiteY39" fmla="*/ 36162 h 306306"/>
                <a:gd name="connsiteX40" fmla="*/ 132471 w 200417"/>
                <a:gd name="connsiteY40" fmla="*/ 45612 h 306306"/>
                <a:gd name="connsiteX41" fmla="*/ 151739 w 200417"/>
                <a:gd name="connsiteY41" fmla="*/ 71820 h 306306"/>
                <a:gd name="connsiteX42" fmla="*/ 158331 w 200417"/>
                <a:gd name="connsiteY42" fmla="*/ 110502 h 306306"/>
                <a:gd name="connsiteX43" fmla="*/ 151612 w 200417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417" h="306306">
                  <a:moveTo>
                    <a:pt x="151739" y="297738"/>
                  </a:moveTo>
                  <a:cubicBezTo>
                    <a:pt x="166571" y="291942"/>
                    <a:pt x="178487" y="283122"/>
                    <a:pt x="187234" y="271152"/>
                  </a:cubicBezTo>
                  <a:cubicBezTo>
                    <a:pt x="195980" y="259182"/>
                    <a:pt x="200417" y="243936"/>
                    <a:pt x="200417" y="225414"/>
                  </a:cubicBezTo>
                  <a:lnTo>
                    <a:pt x="200417" y="2772"/>
                  </a:lnTo>
                  <a:lnTo>
                    <a:pt x="158585" y="2772"/>
                  </a:ln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7" y="196308"/>
                  </a:cubicBezTo>
                  <a:cubicBezTo>
                    <a:pt x="148824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3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20048" y="306306"/>
                    <a:pt x="136781" y="303534"/>
                    <a:pt x="151739" y="297738"/>
                  </a:cubicBezTo>
                  <a:close/>
                  <a:moveTo>
                    <a:pt x="151612" y="148932"/>
                  </a:moveTo>
                  <a:cubicBezTo>
                    <a:pt x="147176" y="159642"/>
                    <a:pt x="140711" y="167832"/>
                    <a:pt x="132217" y="173628"/>
                  </a:cubicBezTo>
                  <a:cubicBezTo>
                    <a:pt x="123724" y="179298"/>
                    <a:pt x="113329" y="182196"/>
                    <a:pt x="101033" y="182196"/>
                  </a:cubicBezTo>
                  <a:cubicBezTo>
                    <a:pt x="88356" y="182196"/>
                    <a:pt x="77708" y="179172"/>
                    <a:pt x="69214" y="173124"/>
                  </a:cubicBezTo>
                  <a:cubicBezTo>
                    <a:pt x="60594" y="167076"/>
                    <a:pt x="54129" y="158634"/>
                    <a:pt x="49819" y="147924"/>
                  </a:cubicBezTo>
                  <a:cubicBezTo>
                    <a:pt x="45383" y="137088"/>
                    <a:pt x="43227" y="124614"/>
                    <a:pt x="43227" y="110376"/>
                  </a:cubicBezTo>
                  <a:cubicBezTo>
                    <a:pt x="43227" y="96516"/>
                    <a:pt x="45383" y="83916"/>
                    <a:pt x="49693" y="72702"/>
                  </a:cubicBezTo>
                  <a:cubicBezTo>
                    <a:pt x="54003" y="61488"/>
                    <a:pt x="60468" y="52542"/>
                    <a:pt x="68961" y="45990"/>
                  </a:cubicBezTo>
                  <a:cubicBezTo>
                    <a:pt x="77454" y="39438"/>
                    <a:pt x="88229" y="36162"/>
                    <a:pt x="101033" y="36162"/>
                  </a:cubicBezTo>
                  <a:cubicBezTo>
                    <a:pt x="113456" y="36162"/>
                    <a:pt x="123977" y="39312"/>
                    <a:pt x="132471" y="45612"/>
                  </a:cubicBezTo>
                  <a:cubicBezTo>
                    <a:pt x="140964" y="51912"/>
                    <a:pt x="147302" y="60606"/>
                    <a:pt x="151739" y="71820"/>
                  </a:cubicBezTo>
                  <a:cubicBezTo>
                    <a:pt x="156049" y="83034"/>
                    <a:pt x="158331" y="95886"/>
                    <a:pt x="158331" y="110502"/>
                  </a:cubicBezTo>
                  <a:cubicBezTo>
                    <a:pt x="158204" y="125370"/>
                    <a:pt x="156049" y="138222"/>
                    <a:pt x="151612" y="14893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8" name="Freihandform 155">
              <a:extLst>
                <a:ext uri="{FF2B5EF4-FFF2-40B4-BE49-F238E27FC236}">
                  <a16:creationId xmlns:a16="http://schemas.microsoft.com/office/drawing/2014/main" id="{56E2C3D6-F678-4557-A72E-6ABB5A4298CC}"/>
                </a:ext>
              </a:extLst>
            </p:cNvPr>
            <p:cNvSpPr/>
            <p:nvPr/>
          </p:nvSpPr>
          <p:spPr bwMode="black">
            <a:xfrm>
              <a:off x="7673098" y="2869119"/>
              <a:ext cx="53748" cy="50651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3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057" y="48132"/>
                    <a:pt x="19522" y="50652"/>
                    <a:pt x="26874" y="506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9" name="Freihandform 156">
              <a:extLst>
                <a:ext uri="{FF2B5EF4-FFF2-40B4-BE49-F238E27FC236}">
                  <a16:creationId xmlns:a16="http://schemas.microsoft.com/office/drawing/2014/main" id="{554651DE-15E5-4AD8-8E1B-1EFA8D9DF86D}"/>
                </a:ext>
              </a:extLst>
            </p:cNvPr>
            <p:cNvSpPr/>
            <p:nvPr/>
          </p:nvSpPr>
          <p:spPr bwMode="black">
            <a:xfrm>
              <a:off x="7678422" y="2953287"/>
              <a:ext cx="42720" cy="217728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0" name="Freihandform 157">
              <a:extLst>
                <a:ext uri="{FF2B5EF4-FFF2-40B4-BE49-F238E27FC236}">
                  <a16:creationId xmlns:a16="http://schemas.microsoft.com/office/drawing/2014/main" id="{760EB6CE-44D7-4F96-B7BA-F5F919E266C2}"/>
                </a:ext>
              </a:extLst>
            </p:cNvPr>
            <p:cNvSpPr/>
            <p:nvPr/>
          </p:nvSpPr>
          <p:spPr bwMode="black">
            <a:xfrm>
              <a:off x="7778821" y="2950388"/>
              <a:ext cx="182670" cy="220625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792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5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1" name="Freihandform 158">
              <a:extLst>
                <a:ext uri="{FF2B5EF4-FFF2-40B4-BE49-F238E27FC236}">
                  <a16:creationId xmlns:a16="http://schemas.microsoft.com/office/drawing/2014/main" id="{B4174193-0108-4B73-BAFC-61C16F9E450F}"/>
                </a:ext>
              </a:extLst>
            </p:cNvPr>
            <p:cNvSpPr/>
            <p:nvPr/>
          </p:nvSpPr>
          <p:spPr bwMode="black">
            <a:xfrm>
              <a:off x="8008648" y="2950767"/>
              <a:ext cx="198262" cy="224783"/>
            </a:xfrm>
            <a:custGeom>
              <a:avLst/>
              <a:gdLst>
                <a:gd name="connsiteX0" fmla="*/ 48424 w 198262"/>
                <a:gd name="connsiteY0" fmla="*/ 210924 h 224783"/>
                <a:gd name="connsiteX1" fmla="*/ 104202 w 198262"/>
                <a:gd name="connsiteY1" fmla="*/ 224784 h 224783"/>
                <a:gd name="connsiteX2" fmla="*/ 146922 w 198262"/>
                <a:gd name="connsiteY2" fmla="*/ 217476 h 224783"/>
                <a:gd name="connsiteX3" fmla="*/ 178106 w 198262"/>
                <a:gd name="connsiteY3" fmla="*/ 196938 h 224783"/>
                <a:gd name="connsiteX4" fmla="*/ 195473 w 198262"/>
                <a:gd name="connsiteY4" fmla="*/ 165942 h 224783"/>
                <a:gd name="connsiteX5" fmla="*/ 155162 w 198262"/>
                <a:gd name="connsiteY5" fmla="*/ 158760 h 224783"/>
                <a:gd name="connsiteX6" fmla="*/ 144006 w 198262"/>
                <a:gd name="connsiteY6" fmla="*/ 175896 h 224783"/>
                <a:gd name="connsiteX7" fmla="*/ 126766 w 198262"/>
                <a:gd name="connsiteY7" fmla="*/ 186354 h 224783"/>
                <a:gd name="connsiteX8" fmla="*/ 104709 w 198262"/>
                <a:gd name="connsiteY8" fmla="*/ 189882 h 224783"/>
                <a:gd name="connsiteX9" fmla="*/ 72003 w 198262"/>
                <a:gd name="connsiteY9" fmla="*/ 181818 h 224783"/>
                <a:gd name="connsiteX10" fmla="*/ 50326 w 198262"/>
                <a:gd name="connsiteY10" fmla="*/ 158508 h 224783"/>
                <a:gd name="connsiteX11" fmla="*/ 42847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424 w 198262"/>
                <a:gd name="connsiteY22" fmla="*/ 210924 h 224783"/>
                <a:gd name="connsiteX23" fmla="*/ 49566 w 198262"/>
                <a:gd name="connsiteY23" fmla="*/ 66150 h 224783"/>
                <a:gd name="connsiteX24" fmla="*/ 70102 w 198262"/>
                <a:gd name="connsiteY24" fmla="*/ 43470 h 224783"/>
                <a:gd name="connsiteX25" fmla="*/ 101413 w 198262"/>
                <a:gd name="connsiteY25" fmla="*/ 34776 h 224783"/>
                <a:gd name="connsiteX26" fmla="*/ 130316 w 198262"/>
                <a:gd name="connsiteY26" fmla="*/ 42336 h 224783"/>
                <a:gd name="connsiteX27" fmla="*/ 149457 w 198262"/>
                <a:gd name="connsiteY27" fmla="*/ 62874 h 224783"/>
                <a:gd name="connsiteX28" fmla="*/ 156303 w 198262"/>
                <a:gd name="connsiteY28" fmla="*/ 92610 h 224783"/>
                <a:gd name="connsiteX29" fmla="*/ 42847 w 198262"/>
                <a:gd name="connsiteY29" fmla="*/ 92610 h 224783"/>
                <a:gd name="connsiteX30" fmla="*/ 49566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424" y="210924"/>
                  </a:moveTo>
                  <a:cubicBezTo>
                    <a:pt x="64017" y="220122"/>
                    <a:pt x="82525" y="224784"/>
                    <a:pt x="104202" y="224784"/>
                  </a:cubicBezTo>
                  <a:cubicBezTo>
                    <a:pt x="120174" y="224784"/>
                    <a:pt x="134372" y="222390"/>
                    <a:pt x="146922" y="217476"/>
                  </a:cubicBezTo>
                  <a:cubicBezTo>
                    <a:pt x="159472" y="212562"/>
                    <a:pt x="169867" y="205758"/>
                    <a:pt x="178106" y="196938"/>
                  </a:cubicBezTo>
                  <a:cubicBezTo>
                    <a:pt x="186473" y="188118"/>
                    <a:pt x="192178" y="177786"/>
                    <a:pt x="195473" y="165942"/>
                  </a:cubicBezTo>
                  <a:lnTo>
                    <a:pt x="155162" y="158760"/>
                  </a:lnTo>
                  <a:cubicBezTo>
                    <a:pt x="152626" y="165564"/>
                    <a:pt x="148823" y="171234"/>
                    <a:pt x="144006" y="175896"/>
                  </a:cubicBezTo>
                  <a:cubicBezTo>
                    <a:pt x="139189" y="180558"/>
                    <a:pt x="133358" y="183960"/>
                    <a:pt x="126766" y="186354"/>
                  </a:cubicBezTo>
                  <a:cubicBezTo>
                    <a:pt x="120048" y="188622"/>
                    <a:pt x="112695" y="189882"/>
                    <a:pt x="104709" y="189882"/>
                  </a:cubicBezTo>
                  <a:cubicBezTo>
                    <a:pt x="92286" y="189882"/>
                    <a:pt x="81384" y="187236"/>
                    <a:pt x="72003" y="181818"/>
                  </a:cubicBezTo>
                  <a:cubicBezTo>
                    <a:pt x="62749" y="176526"/>
                    <a:pt x="55397" y="168714"/>
                    <a:pt x="50326" y="158508"/>
                  </a:cubicBezTo>
                  <a:cubicBezTo>
                    <a:pt x="45509" y="149058"/>
                    <a:pt x="43227" y="137592"/>
                    <a:pt x="42847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0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0916" y="188748"/>
                    <a:pt x="32959" y="201726"/>
                    <a:pt x="48424" y="210924"/>
                  </a:cubicBezTo>
                  <a:close/>
                  <a:moveTo>
                    <a:pt x="49566" y="66150"/>
                  </a:moveTo>
                  <a:cubicBezTo>
                    <a:pt x="54382" y="56826"/>
                    <a:pt x="61228" y="49266"/>
                    <a:pt x="70102" y="43470"/>
                  </a:cubicBezTo>
                  <a:cubicBezTo>
                    <a:pt x="78975" y="37674"/>
                    <a:pt x="89370" y="34776"/>
                    <a:pt x="101413" y="34776"/>
                  </a:cubicBezTo>
                  <a:cubicBezTo>
                    <a:pt x="112442" y="34776"/>
                    <a:pt x="122076" y="37296"/>
                    <a:pt x="130316" y="42336"/>
                  </a:cubicBezTo>
                  <a:cubicBezTo>
                    <a:pt x="138555" y="47376"/>
                    <a:pt x="144894" y="54180"/>
                    <a:pt x="149457" y="62874"/>
                  </a:cubicBezTo>
                  <a:cubicBezTo>
                    <a:pt x="154021" y="71568"/>
                    <a:pt x="156303" y="81396"/>
                    <a:pt x="156303" y="92610"/>
                  </a:cubicBezTo>
                  <a:lnTo>
                    <a:pt x="42847" y="92610"/>
                  </a:lnTo>
                  <a:cubicBezTo>
                    <a:pt x="43354" y="83160"/>
                    <a:pt x="45382" y="74340"/>
                    <a:pt x="49566" y="6615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2" name="Freihandform 159">
              <a:extLst>
                <a:ext uri="{FF2B5EF4-FFF2-40B4-BE49-F238E27FC236}">
                  <a16:creationId xmlns:a16="http://schemas.microsoft.com/office/drawing/2014/main" id="{E8F529A8-7A94-477E-B9A0-D23388625A03}"/>
                </a:ext>
              </a:extLst>
            </p:cNvPr>
            <p:cNvSpPr/>
            <p:nvPr/>
          </p:nvSpPr>
          <p:spPr bwMode="black">
            <a:xfrm>
              <a:off x="8244433" y="2950767"/>
              <a:ext cx="198262" cy="224783"/>
            </a:xfrm>
            <a:custGeom>
              <a:avLst/>
              <a:gdLst>
                <a:gd name="connsiteX0" fmla="*/ 48552 w 198262"/>
                <a:gd name="connsiteY0" fmla="*/ 210924 h 224783"/>
                <a:gd name="connsiteX1" fmla="*/ 104329 w 198262"/>
                <a:gd name="connsiteY1" fmla="*/ 224784 h 224783"/>
                <a:gd name="connsiteX2" fmla="*/ 147049 w 198262"/>
                <a:gd name="connsiteY2" fmla="*/ 217476 h 224783"/>
                <a:gd name="connsiteX3" fmla="*/ 178234 w 198262"/>
                <a:gd name="connsiteY3" fmla="*/ 196938 h 224783"/>
                <a:gd name="connsiteX4" fmla="*/ 195601 w 198262"/>
                <a:gd name="connsiteY4" fmla="*/ 165942 h 224783"/>
                <a:gd name="connsiteX5" fmla="*/ 155289 w 198262"/>
                <a:gd name="connsiteY5" fmla="*/ 158760 h 224783"/>
                <a:gd name="connsiteX6" fmla="*/ 144133 w 198262"/>
                <a:gd name="connsiteY6" fmla="*/ 175896 h 224783"/>
                <a:gd name="connsiteX7" fmla="*/ 126893 w 198262"/>
                <a:gd name="connsiteY7" fmla="*/ 186354 h 224783"/>
                <a:gd name="connsiteX8" fmla="*/ 104836 w 198262"/>
                <a:gd name="connsiteY8" fmla="*/ 189882 h 224783"/>
                <a:gd name="connsiteX9" fmla="*/ 72130 w 198262"/>
                <a:gd name="connsiteY9" fmla="*/ 181818 h 224783"/>
                <a:gd name="connsiteX10" fmla="*/ 50453 w 198262"/>
                <a:gd name="connsiteY10" fmla="*/ 158508 h 224783"/>
                <a:gd name="connsiteX11" fmla="*/ 42974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552 w 198262"/>
                <a:gd name="connsiteY22" fmla="*/ 210924 h 224783"/>
                <a:gd name="connsiteX23" fmla="*/ 49693 w 198262"/>
                <a:gd name="connsiteY23" fmla="*/ 66150 h 224783"/>
                <a:gd name="connsiteX24" fmla="*/ 70229 w 198262"/>
                <a:gd name="connsiteY24" fmla="*/ 43470 h 224783"/>
                <a:gd name="connsiteX25" fmla="*/ 101540 w 198262"/>
                <a:gd name="connsiteY25" fmla="*/ 34776 h 224783"/>
                <a:gd name="connsiteX26" fmla="*/ 130443 w 198262"/>
                <a:gd name="connsiteY26" fmla="*/ 42336 h 224783"/>
                <a:gd name="connsiteX27" fmla="*/ 149584 w 198262"/>
                <a:gd name="connsiteY27" fmla="*/ 62874 h 224783"/>
                <a:gd name="connsiteX28" fmla="*/ 156430 w 198262"/>
                <a:gd name="connsiteY28" fmla="*/ 92610 h 224783"/>
                <a:gd name="connsiteX29" fmla="*/ 42974 w 198262"/>
                <a:gd name="connsiteY29" fmla="*/ 92610 h 224783"/>
                <a:gd name="connsiteX30" fmla="*/ 49693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552" y="210924"/>
                  </a:moveTo>
                  <a:cubicBezTo>
                    <a:pt x="64144" y="220122"/>
                    <a:pt x="82652" y="224784"/>
                    <a:pt x="104329" y="224784"/>
                  </a:cubicBezTo>
                  <a:cubicBezTo>
                    <a:pt x="120301" y="224784"/>
                    <a:pt x="134499" y="222390"/>
                    <a:pt x="147049" y="217476"/>
                  </a:cubicBezTo>
                  <a:cubicBezTo>
                    <a:pt x="159599" y="212562"/>
                    <a:pt x="169993" y="205758"/>
                    <a:pt x="178234" y="196938"/>
                  </a:cubicBezTo>
                  <a:cubicBezTo>
                    <a:pt x="186600" y="188118"/>
                    <a:pt x="192304" y="177786"/>
                    <a:pt x="195601" y="165942"/>
                  </a:cubicBezTo>
                  <a:lnTo>
                    <a:pt x="155289" y="158760"/>
                  </a:lnTo>
                  <a:cubicBezTo>
                    <a:pt x="152753" y="165564"/>
                    <a:pt x="148950" y="171234"/>
                    <a:pt x="144133" y="175896"/>
                  </a:cubicBezTo>
                  <a:cubicBezTo>
                    <a:pt x="139316" y="180558"/>
                    <a:pt x="133485" y="183960"/>
                    <a:pt x="126893" y="186354"/>
                  </a:cubicBezTo>
                  <a:cubicBezTo>
                    <a:pt x="120174" y="188622"/>
                    <a:pt x="112822" y="189882"/>
                    <a:pt x="104836" y="189882"/>
                  </a:cubicBezTo>
                  <a:cubicBezTo>
                    <a:pt x="92413" y="189882"/>
                    <a:pt x="81511" y="187236"/>
                    <a:pt x="72130" y="181818"/>
                  </a:cubicBezTo>
                  <a:cubicBezTo>
                    <a:pt x="62876" y="176526"/>
                    <a:pt x="55524" y="168714"/>
                    <a:pt x="50453" y="158508"/>
                  </a:cubicBezTo>
                  <a:cubicBezTo>
                    <a:pt x="45636" y="149058"/>
                    <a:pt x="43354" y="137592"/>
                    <a:pt x="42974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1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8748"/>
                    <a:pt x="33086" y="201726"/>
                    <a:pt x="48552" y="210924"/>
                  </a:cubicBezTo>
                  <a:close/>
                  <a:moveTo>
                    <a:pt x="49693" y="66150"/>
                  </a:moveTo>
                  <a:cubicBezTo>
                    <a:pt x="54510" y="56826"/>
                    <a:pt x="61355" y="49266"/>
                    <a:pt x="70229" y="43470"/>
                  </a:cubicBezTo>
                  <a:cubicBezTo>
                    <a:pt x="79102" y="37674"/>
                    <a:pt x="89497" y="34776"/>
                    <a:pt x="101540" y="34776"/>
                  </a:cubicBezTo>
                  <a:cubicBezTo>
                    <a:pt x="112568" y="34776"/>
                    <a:pt x="122203" y="37296"/>
                    <a:pt x="130443" y="42336"/>
                  </a:cubicBezTo>
                  <a:cubicBezTo>
                    <a:pt x="138682" y="47376"/>
                    <a:pt x="145021" y="54180"/>
                    <a:pt x="149584" y="62874"/>
                  </a:cubicBezTo>
                  <a:cubicBezTo>
                    <a:pt x="154148" y="71568"/>
                    <a:pt x="156430" y="81396"/>
                    <a:pt x="156430" y="92610"/>
                  </a:cubicBezTo>
                  <a:lnTo>
                    <a:pt x="42974" y="92610"/>
                  </a:lnTo>
                  <a:cubicBezTo>
                    <a:pt x="43481" y="83160"/>
                    <a:pt x="45509" y="74340"/>
                    <a:pt x="49693" y="6615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3" name="Freihandform 160">
              <a:extLst>
                <a:ext uri="{FF2B5EF4-FFF2-40B4-BE49-F238E27FC236}">
                  <a16:creationId xmlns:a16="http://schemas.microsoft.com/office/drawing/2014/main" id="{37DEB0C4-0DEB-4FA9-814C-297B72F4A45F}"/>
                </a:ext>
              </a:extLst>
            </p:cNvPr>
            <p:cNvSpPr/>
            <p:nvPr/>
          </p:nvSpPr>
          <p:spPr bwMode="black">
            <a:xfrm>
              <a:off x="8490233" y="2950011"/>
              <a:ext cx="117258" cy="221003"/>
            </a:xfrm>
            <a:custGeom>
              <a:avLst/>
              <a:gdLst>
                <a:gd name="connsiteX0" fmla="*/ 42720 w 117258"/>
                <a:gd name="connsiteY0" fmla="*/ 88074 h 221003"/>
                <a:gd name="connsiteX1" fmla="*/ 49566 w 117258"/>
                <a:gd name="connsiteY1" fmla="*/ 62748 h 221003"/>
                <a:gd name="connsiteX2" fmla="*/ 68200 w 117258"/>
                <a:gd name="connsiteY2" fmla="*/ 45360 h 221003"/>
                <a:gd name="connsiteX3" fmla="*/ 95075 w 117258"/>
                <a:gd name="connsiteY3" fmla="*/ 39060 h 221003"/>
                <a:gd name="connsiteX4" fmla="*/ 108132 w 117258"/>
                <a:gd name="connsiteY4" fmla="*/ 39942 h 221003"/>
                <a:gd name="connsiteX5" fmla="*/ 117259 w 117258"/>
                <a:gd name="connsiteY5" fmla="*/ 41580 h 221003"/>
                <a:gd name="connsiteX6" fmla="*/ 117259 w 117258"/>
                <a:gd name="connsiteY6" fmla="*/ 1008 h 221003"/>
                <a:gd name="connsiteX7" fmla="*/ 108639 w 117258"/>
                <a:gd name="connsiteY7" fmla="*/ 252 h 221003"/>
                <a:gd name="connsiteX8" fmla="*/ 99131 w 117258"/>
                <a:gd name="connsiteY8" fmla="*/ 0 h 221003"/>
                <a:gd name="connsiteX9" fmla="*/ 64651 w 117258"/>
                <a:gd name="connsiteY9" fmla="*/ 10080 h 221003"/>
                <a:gd name="connsiteX10" fmla="*/ 43481 w 117258"/>
                <a:gd name="connsiteY10" fmla="*/ 37800 h 221003"/>
                <a:gd name="connsiteX11" fmla="*/ 41199 w 117258"/>
                <a:gd name="connsiteY11" fmla="*/ 37800 h 221003"/>
                <a:gd name="connsiteX12" fmla="*/ 41199 w 117258"/>
                <a:gd name="connsiteY12" fmla="*/ 3276 h 221003"/>
                <a:gd name="connsiteX13" fmla="*/ 0 w 117258"/>
                <a:gd name="connsiteY13" fmla="*/ 3276 h 221003"/>
                <a:gd name="connsiteX14" fmla="*/ 0 w 117258"/>
                <a:gd name="connsiteY14" fmla="*/ 221004 h 221003"/>
                <a:gd name="connsiteX15" fmla="*/ 42720 w 117258"/>
                <a:gd name="connsiteY15" fmla="*/ 221004 h 221003"/>
                <a:gd name="connsiteX16" fmla="*/ 42720 w 117258"/>
                <a:gd name="connsiteY16" fmla="*/ 88074 h 22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3">
                  <a:moveTo>
                    <a:pt x="42720" y="88074"/>
                  </a:move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4" name="Freihandform 161">
              <a:extLst>
                <a:ext uri="{FF2B5EF4-FFF2-40B4-BE49-F238E27FC236}">
                  <a16:creationId xmlns:a16="http://schemas.microsoft.com/office/drawing/2014/main" id="{E3BA12B5-1681-4B1D-9850-AF697DA22768}"/>
                </a:ext>
              </a:extLst>
            </p:cNvPr>
            <p:cNvSpPr/>
            <p:nvPr/>
          </p:nvSpPr>
          <p:spPr bwMode="black">
            <a:xfrm>
              <a:off x="8644507" y="2953287"/>
              <a:ext cx="42720" cy="217728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5" name="Freihandform 162">
              <a:extLst>
                <a:ext uri="{FF2B5EF4-FFF2-40B4-BE49-F238E27FC236}">
                  <a16:creationId xmlns:a16="http://schemas.microsoft.com/office/drawing/2014/main" id="{6536A9F0-A332-4FB0-AD9A-F8B9C214A3F2}"/>
                </a:ext>
              </a:extLst>
            </p:cNvPr>
            <p:cNvSpPr/>
            <p:nvPr/>
          </p:nvSpPr>
          <p:spPr bwMode="black">
            <a:xfrm>
              <a:off x="8639183" y="2869119"/>
              <a:ext cx="53748" cy="50651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4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184" y="48132"/>
                    <a:pt x="19522" y="50652"/>
                    <a:pt x="26874" y="506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6" name="Freihandform 163">
              <a:extLst>
                <a:ext uri="{FF2B5EF4-FFF2-40B4-BE49-F238E27FC236}">
                  <a16:creationId xmlns:a16="http://schemas.microsoft.com/office/drawing/2014/main" id="{6E7DCB97-14CF-407F-9898-7C35F8166552}"/>
                </a:ext>
              </a:extLst>
            </p:cNvPr>
            <p:cNvSpPr/>
            <p:nvPr/>
          </p:nvSpPr>
          <p:spPr bwMode="black">
            <a:xfrm>
              <a:off x="8744779" y="2950388"/>
              <a:ext cx="182670" cy="220751"/>
            </a:xfrm>
            <a:custGeom>
              <a:avLst/>
              <a:gdLst>
                <a:gd name="connsiteX0" fmla="*/ 182670 w 182670"/>
                <a:gd name="connsiteY0" fmla="*/ 220752 h 220751"/>
                <a:gd name="connsiteX1" fmla="*/ 182670 w 182670"/>
                <a:gd name="connsiteY1" fmla="*/ 82152 h 220751"/>
                <a:gd name="connsiteX2" fmla="*/ 173416 w 182670"/>
                <a:gd name="connsiteY2" fmla="*/ 36918 h 220751"/>
                <a:gd name="connsiteX3" fmla="*/ 147303 w 182670"/>
                <a:gd name="connsiteY3" fmla="*/ 9324 h 220751"/>
                <a:gd name="connsiteX4" fmla="*/ 108132 w 182670"/>
                <a:gd name="connsiteY4" fmla="*/ 0 h 220751"/>
                <a:gd name="connsiteX5" fmla="*/ 67313 w 182670"/>
                <a:gd name="connsiteY5" fmla="*/ 10458 h 220751"/>
                <a:gd name="connsiteX6" fmla="*/ 43608 w 182670"/>
                <a:gd name="connsiteY6" fmla="*/ 38304 h 220751"/>
                <a:gd name="connsiteX7" fmla="*/ 40946 w 182670"/>
                <a:gd name="connsiteY7" fmla="*/ 38304 h 220751"/>
                <a:gd name="connsiteX8" fmla="*/ 40946 w 182670"/>
                <a:gd name="connsiteY8" fmla="*/ 2898 h 220751"/>
                <a:gd name="connsiteX9" fmla="*/ 0 w 182670"/>
                <a:gd name="connsiteY9" fmla="*/ 2898 h 220751"/>
                <a:gd name="connsiteX10" fmla="*/ 0 w 182670"/>
                <a:gd name="connsiteY10" fmla="*/ 220626 h 220751"/>
                <a:gd name="connsiteX11" fmla="*/ 42721 w 182670"/>
                <a:gd name="connsiteY11" fmla="*/ 220626 h 220751"/>
                <a:gd name="connsiteX12" fmla="*/ 42721 w 182670"/>
                <a:gd name="connsiteY12" fmla="*/ 91350 h 220751"/>
                <a:gd name="connsiteX13" fmla="*/ 49312 w 182670"/>
                <a:gd name="connsiteY13" fmla="*/ 61740 h 220751"/>
                <a:gd name="connsiteX14" fmla="*/ 67440 w 182670"/>
                <a:gd name="connsiteY14" fmla="*/ 43092 h 220751"/>
                <a:gd name="connsiteX15" fmla="*/ 93807 w 182670"/>
                <a:gd name="connsiteY15" fmla="*/ 36666 h 220751"/>
                <a:gd name="connsiteX16" fmla="*/ 127907 w 182670"/>
                <a:gd name="connsiteY16" fmla="*/ 50022 h 220751"/>
                <a:gd name="connsiteX17" fmla="*/ 140330 w 182670"/>
                <a:gd name="connsiteY17" fmla="*/ 87066 h 220751"/>
                <a:gd name="connsiteX18" fmla="*/ 140330 w 182670"/>
                <a:gd name="connsiteY18" fmla="*/ 220500 h 220751"/>
                <a:gd name="connsiteX19" fmla="*/ 182670 w 182670"/>
                <a:gd name="connsiteY19" fmla="*/ 220500 h 220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751">
                  <a:moveTo>
                    <a:pt x="182670" y="220752"/>
                  </a:moveTo>
                  <a:lnTo>
                    <a:pt x="182670" y="82152"/>
                  </a:lnTo>
                  <a:cubicBezTo>
                    <a:pt x="182670" y="64260"/>
                    <a:pt x="179628" y="49140"/>
                    <a:pt x="173416" y="36918"/>
                  </a:cubicBezTo>
                  <a:cubicBezTo>
                    <a:pt x="167205" y="24696"/>
                    <a:pt x="158585" y="15498"/>
                    <a:pt x="147303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2" y="26712"/>
                    <a:pt x="43608" y="38304"/>
                  </a:cubicBezTo>
                  <a:lnTo>
                    <a:pt x="40946" y="38304"/>
                  </a:lnTo>
                  <a:lnTo>
                    <a:pt x="40946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1" y="220626"/>
                  </a:lnTo>
                  <a:lnTo>
                    <a:pt x="42721" y="91350"/>
                  </a:lnTo>
                  <a:cubicBezTo>
                    <a:pt x="42721" y="79884"/>
                    <a:pt x="44875" y="69930"/>
                    <a:pt x="49312" y="61740"/>
                  </a:cubicBezTo>
                  <a:cubicBezTo>
                    <a:pt x="53749" y="53550"/>
                    <a:pt x="59707" y="47376"/>
                    <a:pt x="67440" y="43092"/>
                  </a:cubicBezTo>
                  <a:cubicBezTo>
                    <a:pt x="75173" y="38808"/>
                    <a:pt x="83920" y="36666"/>
                    <a:pt x="93807" y="36666"/>
                  </a:cubicBezTo>
                  <a:cubicBezTo>
                    <a:pt x="108258" y="36666"/>
                    <a:pt x="119667" y="41076"/>
                    <a:pt x="127907" y="50022"/>
                  </a:cubicBezTo>
                  <a:cubicBezTo>
                    <a:pt x="136147" y="58968"/>
                    <a:pt x="140330" y="71316"/>
                    <a:pt x="140330" y="87066"/>
                  </a:cubicBezTo>
                  <a:lnTo>
                    <a:pt x="140330" y="220500"/>
                  </a:lnTo>
                  <a:lnTo>
                    <a:pt x="182670" y="22050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7" name="Freihandform 164">
              <a:extLst>
                <a:ext uri="{FF2B5EF4-FFF2-40B4-BE49-F238E27FC236}">
                  <a16:creationId xmlns:a16="http://schemas.microsoft.com/office/drawing/2014/main" id="{4FABCAA5-925D-413F-9B91-393E926D8937}"/>
                </a:ext>
              </a:extLst>
            </p:cNvPr>
            <p:cNvSpPr/>
            <p:nvPr/>
          </p:nvSpPr>
          <p:spPr bwMode="black">
            <a:xfrm>
              <a:off x="8974733" y="2950515"/>
              <a:ext cx="200163" cy="306306"/>
            </a:xfrm>
            <a:custGeom>
              <a:avLst/>
              <a:gdLst>
                <a:gd name="connsiteX0" fmla="*/ 158585 w 200163"/>
                <a:gd name="connsiteY0" fmla="*/ 2772 h 306306"/>
                <a:gd name="connsiteX1" fmla="*/ 158585 w 200163"/>
                <a:gd name="connsiteY1" fmla="*/ 38052 h 306306"/>
                <a:gd name="connsiteX2" fmla="*/ 155415 w 200163"/>
                <a:gd name="connsiteY2" fmla="*/ 38052 h 306306"/>
                <a:gd name="connsiteX3" fmla="*/ 144513 w 200163"/>
                <a:gd name="connsiteY3" fmla="*/ 22302 h 306306"/>
                <a:gd name="connsiteX4" fmla="*/ 124865 w 200163"/>
                <a:gd name="connsiteY4" fmla="*/ 6678 h 306306"/>
                <a:gd name="connsiteX5" fmla="*/ 91905 w 200163"/>
                <a:gd name="connsiteY5" fmla="*/ 0 h 306306"/>
                <a:gd name="connsiteX6" fmla="*/ 44622 w 200163"/>
                <a:gd name="connsiteY6" fmla="*/ 13230 h 306306"/>
                <a:gd name="connsiteX7" fmla="*/ 11916 w 200163"/>
                <a:gd name="connsiteY7" fmla="*/ 51282 h 306306"/>
                <a:gd name="connsiteX8" fmla="*/ 0 w 200163"/>
                <a:gd name="connsiteY8" fmla="*/ 110880 h 306306"/>
                <a:gd name="connsiteX9" fmla="*/ 12043 w 200163"/>
                <a:gd name="connsiteY9" fmla="*/ 169344 h 306306"/>
                <a:gd name="connsiteX10" fmla="*/ 44875 w 200163"/>
                <a:gd name="connsiteY10" fmla="*/ 205254 h 306306"/>
                <a:gd name="connsiteX11" fmla="*/ 91525 w 200163"/>
                <a:gd name="connsiteY11" fmla="*/ 217350 h 306306"/>
                <a:gd name="connsiteX12" fmla="*/ 124231 w 200163"/>
                <a:gd name="connsiteY12" fmla="*/ 211050 h 306306"/>
                <a:gd name="connsiteX13" fmla="*/ 144006 w 200163"/>
                <a:gd name="connsiteY13" fmla="*/ 196308 h 306306"/>
                <a:gd name="connsiteX14" fmla="*/ 155035 w 200163"/>
                <a:gd name="connsiteY14" fmla="*/ 180810 h 306306"/>
                <a:gd name="connsiteX15" fmla="*/ 157697 w 200163"/>
                <a:gd name="connsiteY15" fmla="*/ 180810 h 306306"/>
                <a:gd name="connsiteX16" fmla="*/ 157697 w 200163"/>
                <a:gd name="connsiteY16" fmla="*/ 223650 h 306306"/>
                <a:gd name="connsiteX17" fmla="*/ 141851 w 200163"/>
                <a:gd name="connsiteY17" fmla="*/ 260568 h 306306"/>
                <a:gd name="connsiteX18" fmla="*/ 101793 w 200163"/>
                <a:gd name="connsiteY18" fmla="*/ 272160 h 306306"/>
                <a:gd name="connsiteX19" fmla="*/ 72891 w 200163"/>
                <a:gd name="connsiteY19" fmla="*/ 267246 h 306306"/>
                <a:gd name="connsiteX20" fmla="*/ 55270 w 200163"/>
                <a:gd name="connsiteY20" fmla="*/ 255276 h 306306"/>
                <a:gd name="connsiteX21" fmla="*/ 44875 w 200163"/>
                <a:gd name="connsiteY21" fmla="*/ 242424 h 306306"/>
                <a:gd name="connsiteX22" fmla="*/ 8240 w 200163"/>
                <a:gd name="connsiteY22" fmla="*/ 257418 h 306306"/>
                <a:gd name="connsiteX23" fmla="*/ 25860 w 200163"/>
                <a:gd name="connsiteY23" fmla="*/ 281610 h 306306"/>
                <a:gd name="connsiteX24" fmla="*/ 56411 w 200163"/>
                <a:gd name="connsiteY24" fmla="*/ 299502 h 306306"/>
                <a:gd name="connsiteX25" fmla="*/ 101286 w 200163"/>
                <a:gd name="connsiteY25" fmla="*/ 306306 h 306306"/>
                <a:gd name="connsiteX26" fmla="*/ 151486 w 200163"/>
                <a:gd name="connsiteY26" fmla="*/ 297612 h 306306"/>
                <a:gd name="connsiteX27" fmla="*/ 186980 w 200163"/>
                <a:gd name="connsiteY27" fmla="*/ 271026 h 306306"/>
                <a:gd name="connsiteX28" fmla="*/ 200164 w 200163"/>
                <a:gd name="connsiteY28" fmla="*/ 225288 h 306306"/>
                <a:gd name="connsiteX29" fmla="*/ 200164 w 200163"/>
                <a:gd name="connsiteY29" fmla="*/ 2772 h 306306"/>
                <a:gd name="connsiteX30" fmla="*/ 158585 w 200163"/>
                <a:gd name="connsiteY30" fmla="*/ 2772 h 306306"/>
                <a:gd name="connsiteX31" fmla="*/ 151739 w 200163"/>
                <a:gd name="connsiteY31" fmla="*/ 148932 h 306306"/>
                <a:gd name="connsiteX32" fmla="*/ 132344 w 200163"/>
                <a:gd name="connsiteY32" fmla="*/ 173628 h 306306"/>
                <a:gd name="connsiteX33" fmla="*/ 101160 w 200163"/>
                <a:gd name="connsiteY33" fmla="*/ 182196 h 306306"/>
                <a:gd name="connsiteX34" fmla="*/ 69341 w 200163"/>
                <a:gd name="connsiteY34" fmla="*/ 173124 h 306306"/>
                <a:gd name="connsiteX35" fmla="*/ 49946 w 200163"/>
                <a:gd name="connsiteY35" fmla="*/ 147924 h 306306"/>
                <a:gd name="connsiteX36" fmla="*/ 43354 w 200163"/>
                <a:gd name="connsiteY36" fmla="*/ 110376 h 306306"/>
                <a:gd name="connsiteX37" fmla="*/ 49819 w 200163"/>
                <a:gd name="connsiteY37" fmla="*/ 72702 h 306306"/>
                <a:gd name="connsiteX38" fmla="*/ 69088 w 200163"/>
                <a:gd name="connsiteY38" fmla="*/ 45990 h 306306"/>
                <a:gd name="connsiteX39" fmla="*/ 101160 w 200163"/>
                <a:gd name="connsiteY39" fmla="*/ 36162 h 306306"/>
                <a:gd name="connsiteX40" fmla="*/ 132597 w 200163"/>
                <a:gd name="connsiteY40" fmla="*/ 45612 h 306306"/>
                <a:gd name="connsiteX41" fmla="*/ 151866 w 200163"/>
                <a:gd name="connsiteY41" fmla="*/ 71820 h 306306"/>
                <a:gd name="connsiteX42" fmla="*/ 158458 w 200163"/>
                <a:gd name="connsiteY42" fmla="*/ 110502 h 306306"/>
                <a:gd name="connsiteX43" fmla="*/ 151739 w 200163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163" h="306306">
                  <a:moveTo>
                    <a:pt x="158585" y="2772"/>
                  </a:move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6" y="196308"/>
                  </a:cubicBezTo>
                  <a:cubicBezTo>
                    <a:pt x="148823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2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19921" y="306306"/>
                    <a:pt x="136654" y="303408"/>
                    <a:pt x="151486" y="297612"/>
                  </a:cubicBezTo>
                  <a:cubicBezTo>
                    <a:pt x="166317" y="291816"/>
                    <a:pt x="178233" y="282996"/>
                    <a:pt x="186980" y="271026"/>
                  </a:cubicBezTo>
                  <a:cubicBezTo>
                    <a:pt x="195727" y="259056"/>
                    <a:pt x="200164" y="243810"/>
                    <a:pt x="200164" y="225288"/>
                  </a:cubicBezTo>
                  <a:lnTo>
                    <a:pt x="200164" y="2772"/>
                  </a:lnTo>
                  <a:lnTo>
                    <a:pt x="158585" y="2772"/>
                  </a:lnTo>
                  <a:close/>
                  <a:moveTo>
                    <a:pt x="151739" y="148932"/>
                  </a:moveTo>
                  <a:cubicBezTo>
                    <a:pt x="147302" y="159642"/>
                    <a:pt x="140837" y="167832"/>
                    <a:pt x="132344" y="173628"/>
                  </a:cubicBezTo>
                  <a:cubicBezTo>
                    <a:pt x="123850" y="179298"/>
                    <a:pt x="113456" y="182196"/>
                    <a:pt x="101160" y="182196"/>
                  </a:cubicBezTo>
                  <a:cubicBezTo>
                    <a:pt x="88483" y="182196"/>
                    <a:pt x="77834" y="179172"/>
                    <a:pt x="69341" y="173124"/>
                  </a:cubicBezTo>
                  <a:cubicBezTo>
                    <a:pt x="60848" y="167076"/>
                    <a:pt x="54256" y="158634"/>
                    <a:pt x="49946" y="147924"/>
                  </a:cubicBezTo>
                  <a:cubicBezTo>
                    <a:pt x="45509" y="137088"/>
                    <a:pt x="43354" y="124614"/>
                    <a:pt x="43354" y="110376"/>
                  </a:cubicBezTo>
                  <a:cubicBezTo>
                    <a:pt x="43354" y="96516"/>
                    <a:pt x="45509" y="83916"/>
                    <a:pt x="49819" y="72702"/>
                  </a:cubicBezTo>
                  <a:cubicBezTo>
                    <a:pt x="54129" y="61488"/>
                    <a:pt x="60594" y="52542"/>
                    <a:pt x="69088" y="45990"/>
                  </a:cubicBezTo>
                  <a:cubicBezTo>
                    <a:pt x="77581" y="39438"/>
                    <a:pt x="88356" y="36162"/>
                    <a:pt x="101160" y="36162"/>
                  </a:cubicBezTo>
                  <a:cubicBezTo>
                    <a:pt x="113582" y="36162"/>
                    <a:pt x="124104" y="39312"/>
                    <a:pt x="132597" y="45612"/>
                  </a:cubicBezTo>
                  <a:cubicBezTo>
                    <a:pt x="141091" y="51912"/>
                    <a:pt x="147429" y="60606"/>
                    <a:pt x="151866" y="71820"/>
                  </a:cubicBezTo>
                  <a:cubicBezTo>
                    <a:pt x="156176" y="83034"/>
                    <a:pt x="158458" y="95886"/>
                    <a:pt x="158458" y="110502"/>
                  </a:cubicBezTo>
                  <a:cubicBezTo>
                    <a:pt x="158331" y="125370"/>
                    <a:pt x="156176" y="138222"/>
                    <a:pt x="151739" y="14893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8" name="Freihandform 165">
              <a:extLst>
                <a:ext uri="{FF2B5EF4-FFF2-40B4-BE49-F238E27FC236}">
                  <a16:creationId xmlns:a16="http://schemas.microsoft.com/office/drawing/2014/main" id="{457D4293-93FB-4E03-9F0D-20D508009406}"/>
                </a:ext>
              </a:extLst>
            </p:cNvPr>
            <p:cNvSpPr/>
            <p:nvPr/>
          </p:nvSpPr>
          <p:spPr bwMode="black">
            <a:xfrm>
              <a:off x="6928854" y="3273830"/>
              <a:ext cx="134499" cy="304038"/>
            </a:xfrm>
            <a:custGeom>
              <a:avLst/>
              <a:gdLst>
                <a:gd name="connsiteX0" fmla="*/ 33974 w 134499"/>
                <a:gd name="connsiteY0" fmla="*/ 304038 h 304038"/>
                <a:gd name="connsiteX1" fmla="*/ 76567 w 134499"/>
                <a:gd name="connsiteY1" fmla="*/ 304038 h 304038"/>
                <a:gd name="connsiteX2" fmla="*/ 76567 w 134499"/>
                <a:gd name="connsiteY2" fmla="*/ 120204 h 304038"/>
                <a:gd name="connsiteX3" fmla="*/ 123851 w 134499"/>
                <a:gd name="connsiteY3" fmla="*/ 120204 h 304038"/>
                <a:gd name="connsiteX4" fmla="*/ 123851 w 134499"/>
                <a:gd name="connsiteY4" fmla="*/ 86184 h 304038"/>
                <a:gd name="connsiteX5" fmla="*/ 76567 w 134499"/>
                <a:gd name="connsiteY5" fmla="*/ 86184 h 304038"/>
                <a:gd name="connsiteX6" fmla="*/ 76567 w 134499"/>
                <a:gd name="connsiteY6" fmla="*/ 66654 h 304038"/>
                <a:gd name="connsiteX7" fmla="*/ 83159 w 134499"/>
                <a:gd name="connsiteY7" fmla="*/ 44478 h 304038"/>
                <a:gd name="connsiteX8" fmla="*/ 105343 w 134499"/>
                <a:gd name="connsiteY8" fmla="*/ 36792 h 304038"/>
                <a:gd name="connsiteX9" fmla="*/ 116752 w 134499"/>
                <a:gd name="connsiteY9" fmla="*/ 38052 h 304038"/>
                <a:gd name="connsiteX10" fmla="*/ 124484 w 134499"/>
                <a:gd name="connsiteY10" fmla="*/ 40068 h 304038"/>
                <a:gd name="connsiteX11" fmla="*/ 134499 w 134499"/>
                <a:gd name="connsiteY11" fmla="*/ 5796 h 304038"/>
                <a:gd name="connsiteX12" fmla="*/ 120935 w 134499"/>
                <a:gd name="connsiteY12" fmla="*/ 2016 h 304038"/>
                <a:gd name="connsiteX13" fmla="*/ 99005 w 134499"/>
                <a:gd name="connsiteY13" fmla="*/ 0 h 304038"/>
                <a:gd name="connsiteX14" fmla="*/ 66806 w 134499"/>
                <a:gd name="connsiteY14" fmla="*/ 6804 h 304038"/>
                <a:gd name="connsiteX15" fmla="*/ 42974 w 134499"/>
                <a:gd name="connsiteY15" fmla="*/ 27090 h 304038"/>
                <a:gd name="connsiteX16" fmla="*/ 33974 w 134499"/>
                <a:gd name="connsiteY16" fmla="*/ 60984 h 304038"/>
                <a:gd name="connsiteX17" fmla="*/ 33974 w 134499"/>
                <a:gd name="connsiteY17" fmla="*/ 86184 h 304038"/>
                <a:gd name="connsiteX18" fmla="*/ 0 w 134499"/>
                <a:gd name="connsiteY18" fmla="*/ 86184 h 304038"/>
                <a:gd name="connsiteX19" fmla="*/ 0 w 134499"/>
                <a:gd name="connsiteY19" fmla="*/ 120204 h 304038"/>
                <a:gd name="connsiteX20" fmla="*/ 33974 w 134499"/>
                <a:gd name="connsiteY20" fmla="*/ 120204 h 304038"/>
                <a:gd name="connsiteX21" fmla="*/ 33974 w 134499"/>
                <a:gd name="connsiteY21" fmla="*/ 304038 h 304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4499" h="304038">
                  <a:moveTo>
                    <a:pt x="33974" y="304038"/>
                  </a:moveTo>
                  <a:lnTo>
                    <a:pt x="76567" y="304038"/>
                  </a:lnTo>
                  <a:lnTo>
                    <a:pt x="76567" y="120204"/>
                  </a:lnTo>
                  <a:lnTo>
                    <a:pt x="123851" y="120204"/>
                  </a:lnTo>
                  <a:lnTo>
                    <a:pt x="123851" y="86184"/>
                  </a:lnTo>
                  <a:lnTo>
                    <a:pt x="76567" y="86184"/>
                  </a:lnTo>
                  <a:lnTo>
                    <a:pt x="76567" y="66654"/>
                  </a:lnTo>
                  <a:cubicBezTo>
                    <a:pt x="76567" y="56952"/>
                    <a:pt x="78849" y="49644"/>
                    <a:pt x="83159" y="44478"/>
                  </a:cubicBezTo>
                  <a:cubicBezTo>
                    <a:pt x="87595" y="39438"/>
                    <a:pt x="94948" y="36792"/>
                    <a:pt x="105343" y="36792"/>
                  </a:cubicBezTo>
                  <a:cubicBezTo>
                    <a:pt x="109780" y="36792"/>
                    <a:pt x="113583" y="37170"/>
                    <a:pt x="116752" y="38052"/>
                  </a:cubicBezTo>
                  <a:cubicBezTo>
                    <a:pt x="119921" y="38808"/>
                    <a:pt x="122456" y="39564"/>
                    <a:pt x="124484" y="40068"/>
                  </a:cubicBezTo>
                  <a:lnTo>
                    <a:pt x="134499" y="5796"/>
                  </a:lnTo>
                  <a:cubicBezTo>
                    <a:pt x="131583" y="4662"/>
                    <a:pt x="127020" y="3402"/>
                    <a:pt x="120935" y="2016"/>
                  </a:cubicBezTo>
                  <a:cubicBezTo>
                    <a:pt x="114851" y="630"/>
                    <a:pt x="107498" y="0"/>
                    <a:pt x="99005" y="0"/>
                  </a:cubicBezTo>
                  <a:cubicBezTo>
                    <a:pt x="87469" y="0"/>
                    <a:pt x="76694" y="2268"/>
                    <a:pt x="66806" y="6804"/>
                  </a:cubicBezTo>
                  <a:cubicBezTo>
                    <a:pt x="56918" y="11340"/>
                    <a:pt x="48932" y="18018"/>
                    <a:pt x="42974" y="27090"/>
                  </a:cubicBezTo>
                  <a:cubicBezTo>
                    <a:pt x="37016" y="36162"/>
                    <a:pt x="33974" y="47376"/>
                    <a:pt x="33974" y="60984"/>
                  </a:cubicBezTo>
                  <a:lnTo>
                    <a:pt x="33974" y="86184"/>
                  </a:lnTo>
                  <a:lnTo>
                    <a:pt x="0" y="86184"/>
                  </a:lnTo>
                  <a:lnTo>
                    <a:pt x="0" y="120204"/>
                  </a:lnTo>
                  <a:lnTo>
                    <a:pt x="33974" y="120204"/>
                  </a:lnTo>
                  <a:lnTo>
                    <a:pt x="33974" y="30403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9" name="Freihandform 166">
              <a:extLst>
                <a:ext uri="{FF2B5EF4-FFF2-40B4-BE49-F238E27FC236}">
                  <a16:creationId xmlns:a16="http://schemas.microsoft.com/office/drawing/2014/main" id="{8279655D-862F-44B8-9F2D-7E3F938A2BD7}"/>
                </a:ext>
              </a:extLst>
            </p:cNvPr>
            <p:cNvSpPr/>
            <p:nvPr/>
          </p:nvSpPr>
          <p:spPr bwMode="black">
            <a:xfrm>
              <a:off x="7083762" y="3357243"/>
              <a:ext cx="204093" cy="224909"/>
            </a:xfrm>
            <a:custGeom>
              <a:avLst/>
              <a:gdLst>
                <a:gd name="connsiteX0" fmla="*/ 204094 w 204093"/>
                <a:gd name="connsiteY0" fmla="*/ 112644 h 224909"/>
                <a:gd name="connsiteX1" fmla="*/ 191417 w 204093"/>
                <a:gd name="connsiteY1" fmla="*/ 53424 h 224909"/>
                <a:gd name="connsiteX2" fmla="*/ 155796 w 204093"/>
                <a:gd name="connsiteY2" fmla="*/ 13986 h 224909"/>
                <a:gd name="connsiteX3" fmla="*/ 102047 w 204093"/>
                <a:gd name="connsiteY3" fmla="*/ 0 h 224909"/>
                <a:gd name="connsiteX4" fmla="*/ 48298 w 204093"/>
                <a:gd name="connsiteY4" fmla="*/ 13986 h 224909"/>
                <a:gd name="connsiteX5" fmla="*/ 12677 w 204093"/>
                <a:gd name="connsiteY5" fmla="*/ 53424 h 224909"/>
                <a:gd name="connsiteX6" fmla="*/ 0 w 204093"/>
                <a:gd name="connsiteY6" fmla="*/ 112644 h 224909"/>
                <a:gd name="connsiteX7" fmla="*/ 12677 w 204093"/>
                <a:gd name="connsiteY7" fmla="*/ 171612 h 224909"/>
                <a:gd name="connsiteX8" fmla="*/ 48298 w 204093"/>
                <a:gd name="connsiteY8" fmla="*/ 210924 h 224909"/>
                <a:gd name="connsiteX9" fmla="*/ 102047 w 204093"/>
                <a:gd name="connsiteY9" fmla="*/ 224910 h 224909"/>
                <a:gd name="connsiteX10" fmla="*/ 155796 w 204093"/>
                <a:gd name="connsiteY10" fmla="*/ 210924 h 224909"/>
                <a:gd name="connsiteX11" fmla="*/ 191417 w 204093"/>
                <a:gd name="connsiteY11" fmla="*/ 171612 h 224909"/>
                <a:gd name="connsiteX12" fmla="*/ 204094 w 204093"/>
                <a:gd name="connsiteY12" fmla="*/ 112644 h 224909"/>
                <a:gd name="connsiteX13" fmla="*/ 154655 w 204093"/>
                <a:gd name="connsiteY13" fmla="*/ 150948 h 224909"/>
                <a:gd name="connsiteX14" fmla="*/ 135133 w 204093"/>
                <a:gd name="connsiteY14" fmla="*/ 178920 h 224909"/>
                <a:gd name="connsiteX15" fmla="*/ 102047 w 204093"/>
                <a:gd name="connsiteY15" fmla="*/ 189378 h 224909"/>
                <a:gd name="connsiteX16" fmla="*/ 68707 w 204093"/>
                <a:gd name="connsiteY16" fmla="*/ 178920 h 224909"/>
                <a:gd name="connsiteX17" fmla="*/ 49185 w 204093"/>
                <a:gd name="connsiteY17" fmla="*/ 150948 h 224909"/>
                <a:gd name="connsiteX18" fmla="*/ 42847 w 204093"/>
                <a:gd name="connsiteY18" fmla="*/ 112518 h 224909"/>
                <a:gd name="connsiteX19" fmla="*/ 49185 w 204093"/>
                <a:gd name="connsiteY19" fmla="*/ 74214 h 224909"/>
                <a:gd name="connsiteX20" fmla="*/ 68707 w 204093"/>
                <a:gd name="connsiteY20" fmla="*/ 46116 h 224909"/>
                <a:gd name="connsiteX21" fmla="*/ 102047 w 204093"/>
                <a:gd name="connsiteY21" fmla="*/ 35532 h 224909"/>
                <a:gd name="connsiteX22" fmla="*/ 135133 w 204093"/>
                <a:gd name="connsiteY22" fmla="*/ 46116 h 224909"/>
                <a:gd name="connsiteX23" fmla="*/ 154655 w 204093"/>
                <a:gd name="connsiteY23" fmla="*/ 74214 h 224909"/>
                <a:gd name="connsiteX24" fmla="*/ 160993 w 204093"/>
                <a:gd name="connsiteY24" fmla="*/ 112518 h 224909"/>
                <a:gd name="connsiteX25" fmla="*/ 154655 w 204093"/>
                <a:gd name="connsiteY25" fmla="*/ 150948 h 22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09">
                  <a:moveTo>
                    <a:pt x="204094" y="112644"/>
                  </a:moveTo>
                  <a:cubicBezTo>
                    <a:pt x="204094" y="90090"/>
                    <a:pt x="199911" y="70308"/>
                    <a:pt x="191417" y="53424"/>
                  </a:cubicBezTo>
                  <a:cubicBezTo>
                    <a:pt x="182924" y="36540"/>
                    <a:pt x="171008" y="23436"/>
                    <a:pt x="155796" y="13986"/>
                  </a:cubicBez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7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4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7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1" y="154854"/>
                    <a:pt x="204094" y="135198"/>
                    <a:pt x="204094" y="112644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10" y="189378"/>
                    <a:pt x="77581" y="185850"/>
                    <a:pt x="68707" y="178920"/>
                  </a:cubicBezTo>
                  <a:cubicBezTo>
                    <a:pt x="59961" y="171990"/>
                    <a:pt x="53369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9" y="62496"/>
                    <a:pt x="59961" y="53172"/>
                    <a:pt x="68707" y="46116"/>
                  </a:cubicBezTo>
                  <a:cubicBezTo>
                    <a:pt x="77454" y="39060"/>
                    <a:pt x="88610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0" name="Freihandform 167">
              <a:extLst>
                <a:ext uri="{FF2B5EF4-FFF2-40B4-BE49-F238E27FC236}">
                  <a16:creationId xmlns:a16="http://schemas.microsoft.com/office/drawing/2014/main" id="{23055635-2B90-4635-86D1-B3E930110EBA}"/>
                </a:ext>
              </a:extLst>
            </p:cNvPr>
            <p:cNvSpPr/>
            <p:nvPr/>
          </p:nvSpPr>
          <p:spPr bwMode="black">
            <a:xfrm>
              <a:off x="7332097" y="3356739"/>
              <a:ext cx="117258" cy="221004"/>
            </a:xfrm>
            <a:custGeom>
              <a:avLst/>
              <a:gdLst>
                <a:gd name="connsiteX0" fmla="*/ 41199 w 117258"/>
                <a:gd name="connsiteY0" fmla="*/ 3276 h 221004"/>
                <a:gd name="connsiteX1" fmla="*/ 0 w 117258"/>
                <a:gd name="connsiteY1" fmla="*/ 3276 h 221004"/>
                <a:gd name="connsiteX2" fmla="*/ 0 w 117258"/>
                <a:gd name="connsiteY2" fmla="*/ 221004 h 221004"/>
                <a:gd name="connsiteX3" fmla="*/ 42720 w 117258"/>
                <a:gd name="connsiteY3" fmla="*/ 221004 h 221004"/>
                <a:gd name="connsiteX4" fmla="*/ 42720 w 117258"/>
                <a:gd name="connsiteY4" fmla="*/ 88074 h 221004"/>
                <a:gd name="connsiteX5" fmla="*/ 49565 w 117258"/>
                <a:gd name="connsiteY5" fmla="*/ 62748 h 221004"/>
                <a:gd name="connsiteX6" fmla="*/ 68200 w 117258"/>
                <a:gd name="connsiteY6" fmla="*/ 45360 h 221004"/>
                <a:gd name="connsiteX7" fmla="*/ 95075 w 117258"/>
                <a:gd name="connsiteY7" fmla="*/ 39060 h 221004"/>
                <a:gd name="connsiteX8" fmla="*/ 108132 w 117258"/>
                <a:gd name="connsiteY8" fmla="*/ 39942 h 221004"/>
                <a:gd name="connsiteX9" fmla="*/ 117259 w 117258"/>
                <a:gd name="connsiteY9" fmla="*/ 41580 h 221004"/>
                <a:gd name="connsiteX10" fmla="*/ 117259 w 117258"/>
                <a:gd name="connsiteY10" fmla="*/ 1008 h 221004"/>
                <a:gd name="connsiteX11" fmla="*/ 108638 w 117258"/>
                <a:gd name="connsiteY11" fmla="*/ 252 h 221004"/>
                <a:gd name="connsiteX12" fmla="*/ 99131 w 117258"/>
                <a:gd name="connsiteY12" fmla="*/ 0 h 221004"/>
                <a:gd name="connsiteX13" fmla="*/ 64650 w 117258"/>
                <a:gd name="connsiteY13" fmla="*/ 10080 h 221004"/>
                <a:gd name="connsiteX14" fmla="*/ 43481 w 117258"/>
                <a:gd name="connsiteY14" fmla="*/ 37800 h 221004"/>
                <a:gd name="connsiteX15" fmla="*/ 41199 w 117258"/>
                <a:gd name="connsiteY15" fmla="*/ 37800 h 221004"/>
                <a:gd name="connsiteX16" fmla="*/ 41199 w 117258"/>
                <a:gd name="connsiteY16" fmla="*/ 3276 h 221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4">
                  <a:moveTo>
                    <a:pt x="41199" y="3276"/>
                  </a:move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5" y="62748"/>
                  </a:cubicBezTo>
                  <a:cubicBezTo>
                    <a:pt x="54129" y="55314"/>
                    <a:pt x="60340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1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8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0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1" name="Freihandform 168">
              <a:extLst>
                <a:ext uri="{FF2B5EF4-FFF2-40B4-BE49-F238E27FC236}">
                  <a16:creationId xmlns:a16="http://schemas.microsoft.com/office/drawing/2014/main" id="{7CD89335-1D2A-43FB-8FCC-3E6DDEA0D260}"/>
                </a:ext>
              </a:extLst>
            </p:cNvPr>
            <p:cNvSpPr/>
            <p:nvPr/>
          </p:nvSpPr>
          <p:spPr bwMode="black">
            <a:xfrm>
              <a:off x="7576249" y="3357243"/>
              <a:ext cx="182289" cy="225539"/>
            </a:xfrm>
            <a:custGeom>
              <a:avLst/>
              <a:gdLst>
                <a:gd name="connsiteX0" fmla="*/ 152627 w 182289"/>
                <a:gd name="connsiteY0" fmla="*/ 14112 h 225539"/>
                <a:gd name="connsiteX1" fmla="*/ 124992 w 182289"/>
                <a:gd name="connsiteY1" fmla="*/ 3024 h 225539"/>
                <a:gd name="connsiteX2" fmla="*/ 97103 w 182289"/>
                <a:gd name="connsiteY2" fmla="*/ 0 h 225539"/>
                <a:gd name="connsiteX3" fmla="*/ 59326 w 182289"/>
                <a:gd name="connsiteY3" fmla="*/ 5544 h 225539"/>
                <a:gd name="connsiteX4" fmla="*/ 27635 w 182289"/>
                <a:gd name="connsiteY4" fmla="*/ 23436 h 225539"/>
                <a:gd name="connsiteX5" fmla="*/ 6719 w 182289"/>
                <a:gd name="connsiteY5" fmla="*/ 55566 h 225539"/>
                <a:gd name="connsiteX6" fmla="*/ 46777 w 182289"/>
                <a:gd name="connsiteY6" fmla="*/ 64638 h 225539"/>
                <a:gd name="connsiteX7" fmla="*/ 63890 w 182289"/>
                <a:gd name="connsiteY7" fmla="*/ 43722 h 225539"/>
                <a:gd name="connsiteX8" fmla="*/ 97737 w 182289"/>
                <a:gd name="connsiteY8" fmla="*/ 34272 h 225539"/>
                <a:gd name="connsiteX9" fmla="*/ 128921 w 182289"/>
                <a:gd name="connsiteY9" fmla="*/ 44478 h 225539"/>
                <a:gd name="connsiteX10" fmla="*/ 139443 w 182289"/>
                <a:gd name="connsiteY10" fmla="*/ 73332 h 225539"/>
                <a:gd name="connsiteX11" fmla="*/ 139443 w 182289"/>
                <a:gd name="connsiteY11" fmla="*/ 74340 h 225539"/>
                <a:gd name="connsiteX12" fmla="*/ 133865 w 182289"/>
                <a:gd name="connsiteY12" fmla="*/ 85428 h 225539"/>
                <a:gd name="connsiteX13" fmla="*/ 115991 w 182289"/>
                <a:gd name="connsiteY13" fmla="*/ 90342 h 225539"/>
                <a:gd name="connsiteX14" fmla="*/ 84046 w 182289"/>
                <a:gd name="connsiteY14" fmla="*/ 94122 h 225539"/>
                <a:gd name="connsiteX15" fmla="*/ 53495 w 182289"/>
                <a:gd name="connsiteY15" fmla="*/ 99540 h 225539"/>
                <a:gd name="connsiteX16" fmla="*/ 26368 w 182289"/>
                <a:gd name="connsiteY16" fmla="*/ 109998 h 225539"/>
                <a:gd name="connsiteX17" fmla="*/ 7099 w 182289"/>
                <a:gd name="connsiteY17" fmla="*/ 128898 h 225539"/>
                <a:gd name="connsiteX18" fmla="*/ 0 w 182289"/>
                <a:gd name="connsiteY18" fmla="*/ 159264 h 225539"/>
                <a:gd name="connsiteX19" fmla="*/ 9761 w 182289"/>
                <a:gd name="connsiteY19" fmla="*/ 195426 h 225539"/>
                <a:gd name="connsiteX20" fmla="*/ 36382 w 182289"/>
                <a:gd name="connsiteY20" fmla="*/ 217854 h 225539"/>
                <a:gd name="connsiteX21" fmla="*/ 74031 w 182289"/>
                <a:gd name="connsiteY21" fmla="*/ 225540 h 225539"/>
                <a:gd name="connsiteX22" fmla="*/ 105089 w 182289"/>
                <a:gd name="connsiteY22" fmla="*/ 220248 h 225539"/>
                <a:gd name="connsiteX23" fmla="*/ 126386 w 182289"/>
                <a:gd name="connsiteY23" fmla="*/ 207018 h 225539"/>
                <a:gd name="connsiteX24" fmla="*/ 138809 w 182289"/>
                <a:gd name="connsiteY24" fmla="*/ 190890 h 225539"/>
                <a:gd name="connsiteX25" fmla="*/ 140584 w 182289"/>
                <a:gd name="connsiteY25" fmla="*/ 190890 h 225539"/>
                <a:gd name="connsiteX26" fmla="*/ 140584 w 182289"/>
                <a:gd name="connsiteY26" fmla="*/ 220626 h 225539"/>
                <a:gd name="connsiteX27" fmla="*/ 182290 w 182289"/>
                <a:gd name="connsiteY27" fmla="*/ 220626 h 225539"/>
                <a:gd name="connsiteX28" fmla="*/ 182290 w 182289"/>
                <a:gd name="connsiteY28" fmla="*/ 75978 h 225539"/>
                <a:gd name="connsiteX29" fmla="*/ 173923 w 182289"/>
                <a:gd name="connsiteY29" fmla="*/ 37170 h 225539"/>
                <a:gd name="connsiteX30" fmla="*/ 152627 w 182289"/>
                <a:gd name="connsiteY30" fmla="*/ 14112 h 225539"/>
                <a:gd name="connsiteX31" fmla="*/ 139443 w 182289"/>
                <a:gd name="connsiteY31" fmla="*/ 142002 h 225539"/>
                <a:gd name="connsiteX32" fmla="*/ 132851 w 182289"/>
                <a:gd name="connsiteY32" fmla="*/ 166194 h 225539"/>
                <a:gd name="connsiteX33" fmla="*/ 113582 w 182289"/>
                <a:gd name="connsiteY33" fmla="*/ 184464 h 225539"/>
                <a:gd name="connsiteX34" fmla="*/ 83285 w 182289"/>
                <a:gd name="connsiteY34" fmla="*/ 191394 h 225539"/>
                <a:gd name="connsiteX35" fmla="*/ 53495 w 182289"/>
                <a:gd name="connsiteY35" fmla="*/ 183330 h 225539"/>
                <a:gd name="connsiteX36" fmla="*/ 41833 w 182289"/>
                <a:gd name="connsiteY36" fmla="*/ 159642 h 225539"/>
                <a:gd name="connsiteX37" fmla="*/ 47918 w 182289"/>
                <a:gd name="connsiteY37" fmla="*/ 141372 h 225539"/>
                <a:gd name="connsiteX38" fmla="*/ 64144 w 182289"/>
                <a:gd name="connsiteY38" fmla="*/ 130788 h 225539"/>
                <a:gd name="connsiteX39" fmla="*/ 86708 w 182289"/>
                <a:gd name="connsiteY39" fmla="*/ 125496 h 225539"/>
                <a:gd name="connsiteX40" fmla="*/ 99892 w 182289"/>
                <a:gd name="connsiteY40" fmla="*/ 123732 h 225539"/>
                <a:gd name="connsiteX41" fmla="*/ 115991 w 182289"/>
                <a:gd name="connsiteY41" fmla="*/ 121338 h 225539"/>
                <a:gd name="connsiteX42" fmla="*/ 130823 w 182289"/>
                <a:gd name="connsiteY42" fmla="*/ 118062 h 225539"/>
                <a:gd name="connsiteX43" fmla="*/ 139570 w 182289"/>
                <a:gd name="connsiteY43" fmla="*/ 113904 h 225539"/>
                <a:gd name="connsiteX44" fmla="*/ 139570 w 182289"/>
                <a:gd name="connsiteY44" fmla="*/ 142002 h 225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82289" h="225539">
                  <a:moveTo>
                    <a:pt x="152627" y="14112"/>
                  </a:moveTo>
                  <a:cubicBezTo>
                    <a:pt x="144007" y="8694"/>
                    <a:pt x="134753" y="5040"/>
                    <a:pt x="124992" y="3024"/>
                  </a:cubicBezTo>
                  <a:cubicBezTo>
                    <a:pt x="115104" y="1008"/>
                    <a:pt x="105850" y="0"/>
                    <a:pt x="97103" y="0"/>
                  </a:cubicBezTo>
                  <a:cubicBezTo>
                    <a:pt x="83919" y="0"/>
                    <a:pt x="71243" y="1890"/>
                    <a:pt x="59326" y="5544"/>
                  </a:cubicBezTo>
                  <a:cubicBezTo>
                    <a:pt x="47411" y="9324"/>
                    <a:pt x="36762" y="15246"/>
                    <a:pt x="27635" y="23436"/>
                  </a:cubicBezTo>
                  <a:cubicBezTo>
                    <a:pt x="18508" y="31626"/>
                    <a:pt x="11536" y="42336"/>
                    <a:pt x="6719" y="55566"/>
                  </a:cubicBezTo>
                  <a:lnTo>
                    <a:pt x="46777" y="64638"/>
                  </a:lnTo>
                  <a:cubicBezTo>
                    <a:pt x="49946" y="56952"/>
                    <a:pt x="55651" y="50022"/>
                    <a:pt x="63890" y="43722"/>
                  </a:cubicBezTo>
                  <a:cubicBezTo>
                    <a:pt x="72130" y="37422"/>
                    <a:pt x="83412" y="34272"/>
                    <a:pt x="97737" y="34272"/>
                  </a:cubicBezTo>
                  <a:cubicBezTo>
                    <a:pt x="111554" y="34272"/>
                    <a:pt x="121949" y="37674"/>
                    <a:pt x="128921" y="44478"/>
                  </a:cubicBezTo>
                  <a:cubicBezTo>
                    <a:pt x="135893" y="51282"/>
                    <a:pt x="139443" y="60858"/>
                    <a:pt x="139443" y="73332"/>
                  </a:cubicBezTo>
                  <a:lnTo>
                    <a:pt x="139443" y="74340"/>
                  </a:lnTo>
                  <a:cubicBezTo>
                    <a:pt x="139443" y="79380"/>
                    <a:pt x="137668" y="83160"/>
                    <a:pt x="133865" y="85428"/>
                  </a:cubicBezTo>
                  <a:cubicBezTo>
                    <a:pt x="130189" y="87696"/>
                    <a:pt x="124231" y="89334"/>
                    <a:pt x="115991" y="90342"/>
                  </a:cubicBezTo>
                  <a:cubicBezTo>
                    <a:pt x="107751" y="91350"/>
                    <a:pt x="97103" y="92610"/>
                    <a:pt x="84046" y="94122"/>
                  </a:cubicBezTo>
                  <a:cubicBezTo>
                    <a:pt x="73651" y="95382"/>
                    <a:pt x="63510" y="97146"/>
                    <a:pt x="53495" y="99540"/>
                  </a:cubicBezTo>
                  <a:cubicBezTo>
                    <a:pt x="43481" y="101934"/>
                    <a:pt x="34480" y="105462"/>
                    <a:pt x="26368" y="109998"/>
                  </a:cubicBezTo>
                  <a:cubicBezTo>
                    <a:pt x="18254" y="114660"/>
                    <a:pt x="11916" y="120960"/>
                    <a:pt x="7099" y="128898"/>
                  </a:cubicBezTo>
                  <a:cubicBezTo>
                    <a:pt x="2409" y="136836"/>
                    <a:pt x="0" y="146916"/>
                    <a:pt x="0" y="159264"/>
                  </a:cubicBezTo>
                  <a:cubicBezTo>
                    <a:pt x="0" y="173502"/>
                    <a:pt x="3296" y="185598"/>
                    <a:pt x="9761" y="195426"/>
                  </a:cubicBezTo>
                  <a:cubicBezTo>
                    <a:pt x="16226" y="205254"/>
                    <a:pt x="25100" y="212688"/>
                    <a:pt x="36382" y="217854"/>
                  </a:cubicBezTo>
                  <a:cubicBezTo>
                    <a:pt x="47664" y="223020"/>
                    <a:pt x="60087" y="225540"/>
                    <a:pt x="74031" y="225540"/>
                  </a:cubicBezTo>
                  <a:cubicBezTo>
                    <a:pt x="86074" y="225540"/>
                    <a:pt x="96469" y="223776"/>
                    <a:pt x="105089" y="220248"/>
                  </a:cubicBezTo>
                  <a:cubicBezTo>
                    <a:pt x="113709" y="216720"/>
                    <a:pt x="120808" y="212310"/>
                    <a:pt x="126386" y="207018"/>
                  </a:cubicBezTo>
                  <a:cubicBezTo>
                    <a:pt x="131837" y="201726"/>
                    <a:pt x="136020" y="196308"/>
                    <a:pt x="138809" y="190890"/>
                  </a:cubicBezTo>
                  <a:lnTo>
                    <a:pt x="140584" y="190890"/>
                  </a:lnTo>
                  <a:lnTo>
                    <a:pt x="140584" y="220626"/>
                  </a:lnTo>
                  <a:lnTo>
                    <a:pt x="182290" y="220626"/>
                  </a:lnTo>
                  <a:lnTo>
                    <a:pt x="182290" y="75978"/>
                  </a:lnTo>
                  <a:cubicBezTo>
                    <a:pt x="182290" y="60102"/>
                    <a:pt x="179501" y="47124"/>
                    <a:pt x="173923" y="37170"/>
                  </a:cubicBezTo>
                  <a:cubicBezTo>
                    <a:pt x="168219" y="27216"/>
                    <a:pt x="161247" y="19530"/>
                    <a:pt x="152627" y="14112"/>
                  </a:cubicBezTo>
                  <a:close/>
                  <a:moveTo>
                    <a:pt x="139443" y="142002"/>
                  </a:moveTo>
                  <a:cubicBezTo>
                    <a:pt x="139443" y="150570"/>
                    <a:pt x="137161" y="158634"/>
                    <a:pt x="132851" y="166194"/>
                  </a:cubicBezTo>
                  <a:cubicBezTo>
                    <a:pt x="128414" y="173754"/>
                    <a:pt x="122076" y="179802"/>
                    <a:pt x="113582" y="184464"/>
                  </a:cubicBezTo>
                  <a:cubicBezTo>
                    <a:pt x="105216" y="189126"/>
                    <a:pt x="95075" y="191394"/>
                    <a:pt x="83285" y="191394"/>
                  </a:cubicBezTo>
                  <a:cubicBezTo>
                    <a:pt x="71243" y="191394"/>
                    <a:pt x="61228" y="188748"/>
                    <a:pt x="53495" y="183330"/>
                  </a:cubicBezTo>
                  <a:cubicBezTo>
                    <a:pt x="45636" y="178038"/>
                    <a:pt x="41833" y="170100"/>
                    <a:pt x="41833" y="159642"/>
                  </a:cubicBezTo>
                  <a:cubicBezTo>
                    <a:pt x="41833" y="152082"/>
                    <a:pt x="43861" y="146034"/>
                    <a:pt x="47918" y="141372"/>
                  </a:cubicBezTo>
                  <a:cubicBezTo>
                    <a:pt x="51974" y="136836"/>
                    <a:pt x="57425" y="133308"/>
                    <a:pt x="64144" y="130788"/>
                  </a:cubicBezTo>
                  <a:cubicBezTo>
                    <a:pt x="70989" y="128394"/>
                    <a:pt x="78468" y="126630"/>
                    <a:pt x="86708" y="125496"/>
                  </a:cubicBezTo>
                  <a:cubicBezTo>
                    <a:pt x="90257" y="124992"/>
                    <a:pt x="94567" y="124488"/>
                    <a:pt x="99892" y="123732"/>
                  </a:cubicBezTo>
                  <a:cubicBezTo>
                    <a:pt x="105089" y="122976"/>
                    <a:pt x="110540" y="122220"/>
                    <a:pt x="115991" y="121338"/>
                  </a:cubicBezTo>
                  <a:cubicBezTo>
                    <a:pt x="121442" y="120456"/>
                    <a:pt x="126386" y="119322"/>
                    <a:pt x="130823" y="118062"/>
                  </a:cubicBezTo>
                  <a:cubicBezTo>
                    <a:pt x="135133" y="116802"/>
                    <a:pt x="138049" y="115416"/>
                    <a:pt x="139570" y="113904"/>
                  </a:cubicBezTo>
                  <a:lnTo>
                    <a:pt x="139570" y="14200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2" name="Freihandform 169">
              <a:extLst>
                <a:ext uri="{FF2B5EF4-FFF2-40B4-BE49-F238E27FC236}">
                  <a16:creationId xmlns:a16="http://schemas.microsoft.com/office/drawing/2014/main" id="{4E94D460-9BED-49DA-81EE-4942BCA9B41F}"/>
                </a:ext>
              </a:extLst>
            </p:cNvPr>
            <p:cNvSpPr/>
            <p:nvPr/>
          </p:nvSpPr>
          <p:spPr bwMode="black">
            <a:xfrm>
              <a:off x="7918517" y="3287439"/>
              <a:ext cx="200163" cy="294588"/>
            </a:xfrm>
            <a:custGeom>
              <a:avLst/>
              <a:gdLst>
                <a:gd name="connsiteX0" fmla="*/ 155415 w 200163"/>
                <a:gd name="connsiteY0" fmla="*/ 83034 h 294588"/>
                <a:gd name="connsiteX1" fmla="*/ 108132 w 200163"/>
                <a:gd name="connsiteY1" fmla="*/ 69678 h 294588"/>
                <a:gd name="connsiteX2" fmla="*/ 75299 w 200163"/>
                <a:gd name="connsiteY2" fmla="*/ 76356 h 294588"/>
                <a:gd name="connsiteX3" fmla="*/ 55904 w 200163"/>
                <a:gd name="connsiteY3" fmla="*/ 91980 h 294588"/>
                <a:gd name="connsiteX4" fmla="*/ 45129 w 200163"/>
                <a:gd name="connsiteY4" fmla="*/ 107730 h 294588"/>
                <a:gd name="connsiteX5" fmla="*/ 42594 w 200163"/>
                <a:gd name="connsiteY5" fmla="*/ 107730 h 294588"/>
                <a:gd name="connsiteX6" fmla="*/ 42594 w 200163"/>
                <a:gd name="connsiteY6" fmla="*/ 0 h 294588"/>
                <a:gd name="connsiteX7" fmla="*/ 0 w 200163"/>
                <a:gd name="connsiteY7" fmla="*/ 0 h 294588"/>
                <a:gd name="connsiteX8" fmla="*/ 0 w 200163"/>
                <a:gd name="connsiteY8" fmla="*/ 290304 h 294588"/>
                <a:gd name="connsiteX9" fmla="*/ 41579 w 200163"/>
                <a:gd name="connsiteY9" fmla="*/ 290304 h 294588"/>
                <a:gd name="connsiteX10" fmla="*/ 41579 w 200163"/>
                <a:gd name="connsiteY10" fmla="*/ 256410 h 294588"/>
                <a:gd name="connsiteX11" fmla="*/ 45129 w 200163"/>
                <a:gd name="connsiteY11" fmla="*/ 256410 h 294588"/>
                <a:gd name="connsiteX12" fmla="*/ 56157 w 200163"/>
                <a:gd name="connsiteY12" fmla="*/ 272286 h 294588"/>
                <a:gd name="connsiteX13" fmla="*/ 75933 w 200163"/>
                <a:gd name="connsiteY13" fmla="*/ 287910 h 294588"/>
                <a:gd name="connsiteX14" fmla="*/ 108512 w 200163"/>
                <a:gd name="connsiteY14" fmla="*/ 294588 h 294588"/>
                <a:gd name="connsiteX15" fmla="*/ 155796 w 200163"/>
                <a:gd name="connsiteY15" fmla="*/ 281106 h 294588"/>
                <a:gd name="connsiteX16" fmla="*/ 188375 w 200163"/>
                <a:gd name="connsiteY16" fmla="*/ 242424 h 294588"/>
                <a:gd name="connsiteX17" fmla="*/ 200164 w 200163"/>
                <a:gd name="connsiteY17" fmla="*/ 181944 h 294588"/>
                <a:gd name="connsiteX18" fmla="*/ 188248 w 200163"/>
                <a:gd name="connsiteY18" fmla="*/ 121590 h 294588"/>
                <a:gd name="connsiteX19" fmla="*/ 155415 w 200163"/>
                <a:gd name="connsiteY19" fmla="*/ 83034 h 294588"/>
                <a:gd name="connsiteX20" fmla="*/ 150345 w 200163"/>
                <a:gd name="connsiteY20" fmla="*/ 220752 h 294588"/>
                <a:gd name="connsiteX21" fmla="*/ 130823 w 200163"/>
                <a:gd name="connsiteY21" fmla="*/ 248346 h 294588"/>
                <a:gd name="connsiteX22" fmla="*/ 98878 w 200163"/>
                <a:gd name="connsiteY22" fmla="*/ 258426 h 294588"/>
                <a:gd name="connsiteX23" fmla="*/ 67820 w 200163"/>
                <a:gd name="connsiteY23" fmla="*/ 248724 h 294588"/>
                <a:gd name="connsiteX24" fmla="*/ 48425 w 200163"/>
                <a:gd name="connsiteY24" fmla="*/ 221760 h 294588"/>
                <a:gd name="connsiteX25" fmla="*/ 41706 w 200163"/>
                <a:gd name="connsiteY25" fmla="*/ 181440 h 294588"/>
                <a:gd name="connsiteX26" fmla="*/ 48298 w 200163"/>
                <a:gd name="connsiteY26" fmla="*/ 141750 h 294588"/>
                <a:gd name="connsiteX27" fmla="*/ 67567 w 200163"/>
                <a:gd name="connsiteY27" fmla="*/ 115290 h 294588"/>
                <a:gd name="connsiteX28" fmla="*/ 98878 w 200163"/>
                <a:gd name="connsiteY28" fmla="*/ 105840 h 294588"/>
                <a:gd name="connsiteX29" fmla="*/ 131076 w 200163"/>
                <a:gd name="connsiteY29" fmla="*/ 115794 h 294588"/>
                <a:gd name="connsiteX30" fmla="*/ 150471 w 200163"/>
                <a:gd name="connsiteY30" fmla="*/ 142884 h 294588"/>
                <a:gd name="connsiteX31" fmla="*/ 156937 w 200163"/>
                <a:gd name="connsiteY31" fmla="*/ 181566 h 294588"/>
                <a:gd name="connsiteX32" fmla="*/ 150345 w 200163"/>
                <a:gd name="connsiteY32" fmla="*/ 220752 h 29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163" h="294588">
                  <a:moveTo>
                    <a:pt x="155415" y="83034"/>
                  </a:moveTo>
                  <a:cubicBezTo>
                    <a:pt x="141598" y="74214"/>
                    <a:pt x="125752" y="69678"/>
                    <a:pt x="108132" y="69678"/>
                  </a:cubicBezTo>
                  <a:cubicBezTo>
                    <a:pt x="94567" y="69678"/>
                    <a:pt x="83539" y="71946"/>
                    <a:pt x="75299" y="76356"/>
                  </a:cubicBezTo>
                  <a:cubicBezTo>
                    <a:pt x="66933" y="80892"/>
                    <a:pt x="60468" y="86058"/>
                    <a:pt x="55904" y="91980"/>
                  </a:cubicBezTo>
                  <a:cubicBezTo>
                    <a:pt x="51214" y="97902"/>
                    <a:pt x="47664" y="103194"/>
                    <a:pt x="45129" y="107730"/>
                  </a:cubicBezTo>
                  <a:lnTo>
                    <a:pt x="42594" y="107730"/>
                  </a:lnTo>
                  <a:lnTo>
                    <a:pt x="42594" y="0"/>
                  </a:lnTo>
                  <a:lnTo>
                    <a:pt x="0" y="0"/>
                  </a:lnTo>
                  <a:lnTo>
                    <a:pt x="0" y="290304"/>
                  </a:lnTo>
                  <a:lnTo>
                    <a:pt x="41579" y="290304"/>
                  </a:lnTo>
                  <a:lnTo>
                    <a:pt x="41579" y="256410"/>
                  </a:lnTo>
                  <a:lnTo>
                    <a:pt x="45129" y="256410"/>
                  </a:lnTo>
                  <a:cubicBezTo>
                    <a:pt x="47664" y="261072"/>
                    <a:pt x="51341" y="266364"/>
                    <a:pt x="56157" y="272286"/>
                  </a:cubicBezTo>
                  <a:cubicBezTo>
                    <a:pt x="60848" y="278208"/>
                    <a:pt x="67567" y="283500"/>
                    <a:pt x="75933" y="287910"/>
                  </a:cubicBezTo>
                  <a:cubicBezTo>
                    <a:pt x="84299" y="292320"/>
                    <a:pt x="95202" y="294588"/>
                    <a:pt x="108512" y="294588"/>
                  </a:cubicBezTo>
                  <a:cubicBezTo>
                    <a:pt x="126133" y="294588"/>
                    <a:pt x="141978" y="290052"/>
                    <a:pt x="155796" y="281106"/>
                  </a:cubicBezTo>
                  <a:cubicBezTo>
                    <a:pt x="169613" y="272034"/>
                    <a:pt x="180388" y="259182"/>
                    <a:pt x="188375" y="242424"/>
                  </a:cubicBezTo>
                  <a:cubicBezTo>
                    <a:pt x="196234" y="225666"/>
                    <a:pt x="200164" y="205506"/>
                    <a:pt x="200164" y="181944"/>
                  </a:cubicBezTo>
                  <a:cubicBezTo>
                    <a:pt x="200164" y="158382"/>
                    <a:pt x="196234" y="138222"/>
                    <a:pt x="188248" y="121590"/>
                  </a:cubicBezTo>
                  <a:cubicBezTo>
                    <a:pt x="180262" y="104832"/>
                    <a:pt x="169360" y="91980"/>
                    <a:pt x="155415" y="83034"/>
                  </a:cubicBezTo>
                  <a:close/>
                  <a:moveTo>
                    <a:pt x="150345" y="220752"/>
                  </a:moveTo>
                  <a:cubicBezTo>
                    <a:pt x="145908" y="232344"/>
                    <a:pt x="139443" y="241542"/>
                    <a:pt x="130823" y="248346"/>
                  </a:cubicBezTo>
                  <a:cubicBezTo>
                    <a:pt x="122329" y="255150"/>
                    <a:pt x="111554" y="258426"/>
                    <a:pt x="98878" y="258426"/>
                  </a:cubicBezTo>
                  <a:cubicBezTo>
                    <a:pt x="86582" y="258426"/>
                    <a:pt x="76313" y="255150"/>
                    <a:pt x="67820" y="248724"/>
                  </a:cubicBezTo>
                  <a:cubicBezTo>
                    <a:pt x="59326" y="242298"/>
                    <a:pt x="52862" y="233226"/>
                    <a:pt x="48425" y="221760"/>
                  </a:cubicBezTo>
                  <a:cubicBezTo>
                    <a:pt x="43988" y="210294"/>
                    <a:pt x="41706" y="196812"/>
                    <a:pt x="41706" y="181440"/>
                  </a:cubicBezTo>
                  <a:cubicBezTo>
                    <a:pt x="41706" y="166320"/>
                    <a:pt x="43861" y="153090"/>
                    <a:pt x="48298" y="141750"/>
                  </a:cubicBezTo>
                  <a:cubicBezTo>
                    <a:pt x="52608" y="130410"/>
                    <a:pt x="59073" y="121590"/>
                    <a:pt x="67567" y="115290"/>
                  </a:cubicBezTo>
                  <a:cubicBezTo>
                    <a:pt x="76060" y="108990"/>
                    <a:pt x="86455" y="105840"/>
                    <a:pt x="98878" y="105840"/>
                  </a:cubicBezTo>
                  <a:cubicBezTo>
                    <a:pt x="111681" y="105840"/>
                    <a:pt x="122456" y="109116"/>
                    <a:pt x="131076" y="115794"/>
                  </a:cubicBezTo>
                  <a:cubicBezTo>
                    <a:pt x="139697" y="122472"/>
                    <a:pt x="146161" y="131418"/>
                    <a:pt x="150471" y="142884"/>
                  </a:cubicBezTo>
                  <a:cubicBezTo>
                    <a:pt x="154781" y="154350"/>
                    <a:pt x="156937" y="167202"/>
                    <a:pt x="156937" y="181566"/>
                  </a:cubicBezTo>
                  <a:cubicBezTo>
                    <a:pt x="156937" y="196056"/>
                    <a:pt x="154781" y="209160"/>
                    <a:pt x="150345" y="2207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3" name="Freihandform 170">
              <a:extLst>
                <a:ext uri="{FF2B5EF4-FFF2-40B4-BE49-F238E27FC236}">
                  <a16:creationId xmlns:a16="http://schemas.microsoft.com/office/drawing/2014/main" id="{B609A7E8-1FF0-4B3D-B11B-CDC0ADFFFD54}"/>
                </a:ext>
              </a:extLst>
            </p:cNvPr>
            <p:cNvSpPr/>
            <p:nvPr/>
          </p:nvSpPr>
          <p:spPr bwMode="black">
            <a:xfrm>
              <a:off x="8153289" y="3357243"/>
              <a:ext cx="198388" cy="225035"/>
            </a:xfrm>
            <a:custGeom>
              <a:avLst/>
              <a:gdLst>
                <a:gd name="connsiteX0" fmla="*/ 168472 w 198388"/>
                <a:gd name="connsiteY0" fmla="*/ 25200 h 225035"/>
                <a:gd name="connsiteX1" fmla="*/ 137288 w 198388"/>
                <a:gd name="connsiteY1" fmla="*/ 6048 h 225035"/>
                <a:gd name="connsiteX2" fmla="*/ 101286 w 198388"/>
                <a:gd name="connsiteY2" fmla="*/ 0 h 225035"/>
                <a:gd name="connsiteX3" fmla="*/ 48044 w 198388"/>
                <a:gd name="connsiteY3" fmla="*/ 14364 h 225035"/>
                <a:gd name="connsiteX4" fmla="*/ 12677 w 198388"/>
                <a:gd name="connsiteY4" fmla="*/ 54180 h 225035"/>
                <a:gd name="connsiteX5" fmla="*/ 0 w 198388"/>
                <a:gd name="connsiteY5" fmla="*/ 113148 h 225035"/>
                <a:gd name="connsiteX6" fmla="*/ 12677 w 198388"/>
                <a:gd name="connsiteY6" fmla="*/ 172242 h 225035"/>
                <a:gd name="connsiteX7" fmla="*/ 48551 w 198388"/>
                <a:gd name="connsiteY7" fmla="*/ 211176 h 225035"/>
                <a:gd name="connsiteX8" fmla="*/ 104328 w 198388"/>
                <a:gd name="connsiteY8" fmla="*/ 225036 h 225035"/>
                <a:gd name="connsiteX9" fmla="*/ 147048 w 198388"/>
                <a:gd name="connsiteY9" fmla="*/ 217728 h 225035"/>
                <a:gd name="connsiteX10" fmla="*/ 178233 w 198388"/>
                <a:gd name="connsiteY10" fmla="*/ 197190 h 225035"/>
                <a:gd name="connsiteX11" fmla="*/ 195600 w 198388"/>
                <a:gd name="connsiteY11" fmla="*/ 166194 h 225035"/>
                <a:gd name="connsiteX12" fmla="*/ 155289 w 198388"/>
                <a:gd name="connsiteY12" fmla="*/ 159012 h 225035"/>
                <a:gd name="connsiteX13" fmla="*/ 144133 w 198388"/>
                <a:gd name="connsiteY13" fmla="*/ 176148 h 225035"/>
                <a:gd name="connsiteX14" fmla="*/ 126893 w 198388"/>
                <a:gd name="connsiteY14" fmla="*/ 186606 h 225035"/>
                <a:gd name="connsiteX15" fmla="*/ 104835 w 198388"/>
                <a:gd name="connsiteY15" fmla="*/ 190134 h 225035"/>
                <a:gd name="connsiteX16" fmla="*/ 72130 w 198388"/>
                <a:gd name="connsiteY16" fmla="*/ 182070 h 225035"/>
                <a:gd name="connsiteX17" fmla="*/ 50453 w 198388"/>
                <a:gd name="connsiteY17" fmla="*/ 158760 h 225035"/>
                <a:gd name="connsiteX18" fmla="*/ 42974 w 198388"/>
                <a:gd name="connsiteY18" fmla="*/ 124614 h 225035"/>
                <a:gd name="connsiteX19" fmla="*/ 198389 w 198388"/>
                <a:gd name="connsiteY19" fmla="*/ 124614 h 225035"/>
                <a:gd name="connsiteX20" fmla="*/ 198389 w 198388"/>
                <a:gd name="connsiteY20" fmla="*/ 109620 h 225035"/>
                <a:gd name="connsiteX21" fmla="*/ 190403 w 198388"/>
                <a:gd name="connsiteY21" fmla="*/ 59220 h 225035"/>
                <a:gd name="connsiteX22" fmla="*/ 168472 w 198388"/>
                <a:gd name="connsiteY22" fmla="*/ 25200 h 225035"/>
                <a:gd name="connsiteX23" fmla="*/ 42974 w 198388"/>
                <a:gd name="connsiteY23" fmla="*/ 92736 h 225035"/>
                <a:gd name="connsiteX24" fmla="*/ 49692 w 198388"/>
                <a:gd name="connsiteY24" fmla="*/ 66402 h 225035"/>
                <a:gd name="connsiteX25" fmla="*/ 70228 w 198388"/>
                <a:gd name="connsiteY25" fmla="*/ 43722 h 225035"/>
                <a:gd name="connsiteX26" fmla="*/ 101539 w 198388"/>
                <a:gd name="connsiteY26" fmla="*/ 35028 h 225035"/>
                <a:gd name="connsiteX27" fmla="*/ 130442 w 198388"/>
                <a:gd name="connsiteY27" fmla="*/ 42588 h 225035"/>
                <a:gd name="connsiteX28" fmla="*/ 149584 w 198388"/>
                <a:gd name="connsiteY28" fmla="*/ 63126 h 225035"/>
                <a:gd name="connsiteX29" fmla="*/ 156429 w 198388"/>
                <a:gd name="connsiteY29" fmla="*/ 92862 h 225035"/>
                <a:gd name="connsiteX30" fmla="*/ 42974 w 198388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8" h="225035">
                  <a:moveTo>
                    <a:pt x="168472" y="25200"/>
                  </a:move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1043" y="189000"/>
                    <a:pt x="33086" y="201978"/>
                    <a:pt x="48551" y="211176"/>
                  </a:cubicBezTo>
                  <a:cubicBezTo>
                    <a:pt x="64144" y="220374"/>
                    <a:pt x="82651" y="225036"/>
                    <a:pt x="104328" y="225036"/>
                  </a:cubicBezTo>
                  <a:cubicBezTo>
                    <a:pt x="120301" y="225036"/>
                    <a:pt x="134499" y="222642"/>
                    <a:pt x="147048" y="217728"/>
                  </a:cubicBezTo>
                  <a:cubicBezTo>
                    <a:pt x="159599" y="212814"/>
                    <a:pt x="169993" y="206010"/>
                    <a:pt x="178233" y="197190"/>
                  </a:cubicBezTo>
                  <a:cubicBezTo>
                    <a:pt x="186600" y="188370"/>
                    <a:pt x="192304" y="178038"/>
                    <a:pt x="195600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5" y="190134"/>
                  </a:cubicBezTo>
                  <a:cubicBezTo>
                    <a:pt x="92412" y="190134"/>
                    <a:pt x="81511" y="187488"/>
                    <a:pt x="72130" y="182070"/>
                  </a:cubicBezTo>
                  <a:cubicBezTo>
                    <a:pt x="62876" y="176778"/>
                    <a:pt x="55523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2" y="66402"/>
                  </a:cubicBezTo>
                  <a:cubicBezTo>
                    <a:pt x="54509" y="57078"/>
                    <a:pt x="61355" y="49518"/>
                    <a:pt x="70228" y="43722"/>
                  </a:cubicBezTo>
                  <a:cubicBezTo>
                    <a:pt x="79102" y="37926"/>
                    <a:pt x="89497" y="35028"/>
                    <a:pt x="101539" y="35028"/>
                  </a:cubicBezTo>
                  <a:cubicBezTo>
                    <a:pt x="112568" y="35028"/>
                    <a:pt x="122202" y="37548"/>
                    <a:pt x="130442" y="42588"/>
                  </a:cubicBezTo>
                  <a:cubicBezTo>
                    <a:pt x="138682" y="47628"/>
                    <a:pt x="145020" y="54432"/>
                    <a:pt x="149584" y="63126"/>
                  </a:cubicBezTo>
                  <a:cubicBezTo>
                    <a:pt x="154147" y="71820"/>
                    <a:pt x="156429" y="81648"/>
                    <a:pt x="156429" y="92862"/>
                  </a:cubicBezTo>
                  <a:lnTo>
                    <a:pt x="42974" y="9286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4" name="Freihandform 171">
              <a:extLst>
                <a:ext uri="{FF2B5EF4-FFF2-40B4-BE49-F238E27FC236}">
                  <a16:creationId xmlns:a16="http://schemas.microsoft.com/office/drawing/2014/main" id="{28E26E24-ADE6-4323-8A1C-D69B91396027}"/>
                </a:ext>
              </a:extLst>
            </p:cNvPr>
            <p:cNvSpPr/>
            <p:nvPr/>
          </p:nvSpPr>
          <p:spPr bwMode="black">
            <a:xfrm>
              <a:off x="8378425" y="3307977"/>
              <a:ext cx="123723" cy="27281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3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3 w 123723"/>
                <a:gd name="connsiteY16" fmla="*/ 247590 h 272810"/>
                <a:gd name="connsiteX17" fmla="*/ 64651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8" y="234738"/>
                    <a:pt x="104456" y="234990"/>
                    <a:pt x="101033" y="234990"/>
                  </a:cubicBezTo>
                  <a:cubicBezTo>
                    <a:pt x="96342" y="234990"/>
                    <a:pt x="92032" y="234234"/>
                    <a:pt x="88103" y="232848"/>
                  </a:cubicBezTo>
                  <a:cubicBezTo>
                    <a:pt x="84173" y="231336"/>
                    <a:pt x="81004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3" y="247590"/>
                  </a:cubicBezTo>
                  <a:cubicBezTo>
                    <a:pt x="47031" y="256284"/>
                    <a:pt x="54890" y="262710"/>
                    <a:pt x="64651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9" y="272160"/>
                    <a:pt x="113202" y="271152"/>
                  </a:cubicBezTo>
                  <a:cubicBezTo>
                    <a:pt x="117766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7" y="233352"/>
                    <a:pt x="112568" y="233730"/>
                    <a:pt x="110033" y="234234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5" name="Freihandform 172">
              <a:extLst>
                <a:ext uri="{FF2B5EF4-FFF2-40B4-BE49-F238E27FC236}">
                  <a16:creationId xmlns:a16="http://schemas.microsoft.com/office/drawing/2014/main" id="{CB951ACA-365B-41E0-A644-319935FAD00F}"/>
                </a:ext>
              </a:extLst>
            </p:cNvPr>
            <p:cNvSpPr/>
            <p:nvPr/>
          </p:nvSpPr>
          <p:spPr bwMode="black">
            <a:xfrm>
              <a:off x="8524460" y="3307977"/>
              <a:ext cx="123723" cy="27281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2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2 w 123723"/>
                <a:gd name="connsiteY16" fmla="*/ 247590 h 272810"/>
                <a:gd name="connsiteX17" fmla="*/ 64650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7" y="234738"/>
                    <a:pt x="104455" y="234990"/>
                    <a:pt x="101033" y="234990"/>
                  </a:cubicBezTo>
                  <a:cubicBezTo>
                    <a:pt x="96342" y="234990"/>
                    <a:pt x="92032" y="234234"/>
                    <a:pt x="88102" y="232848"/>
                  </a:cubicBezTo>
                  <a:cubicBezTo>
                    <a:pt x="84173" y="231336"/>
                    <a:pt x="81003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2" y="247590"/>
                  </a:cubicBezTo>
                  <a:cubicBezTo>
                    <a:pt x="47030" y="256284"/>
                    <a:pt x="54890" y="262710"/>
                    <a:pt x="64650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8" y="272160"/>
                    <a:pt x="113202" y="271152"/>
                  </a:cubicBezTo>
                  <a:cubicBezTo>
                    <a:pt x="117765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6" y="233352"/>
                    <a:pt x="112695" y="233730"/>
                    <a:pt x="110033" y="234234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6" name="Freihandform 173">
              <a:extLst>
                <a:ext uri="{FF2B5EF4-FFF2-40B4-BE49-F238E27FC236}">
                  <a16:creationId xmlns:a16="http://schemas.microsoft.com/office/drawing/2014/main" id="{B3A64658-BF93-4BA5-9FC3-FA31A8C5D360}"/>
                </a:ext>
              </a:extLst>
            </p:cNvPr>
            <p:cNvSpPr/>
            <p:nvPr/>
          </p:nvSpPr>
          <p:spPr bwMode="black">
            <a:xfrm>
              <a:off x="8678227" y="3357243"/>
              <a:ext cx="198389" cy="225035"/>
            </a:xfrm>
            <a:custGeom>
              <a:avLst/>
              <a:gdLst>
                <a:gd name="connsiteX0" fmla="*/ 168472 w 198389"/>
                <a:gd name="connsiteY0" fmla="*/ 25200 h 225035"/>
                <a:gd name="connsiteX1" fmla="*/ 137288 w 198389"/>
                <a:gd name="connsiteY1" fmla="*/ 6048 h 225035"/>
                <a:gd name="connsiteX2" fmla="*/ 101286 w 198389"/>
                <a:gd name="connsiteY2" fmla="*/ 0 h 225035"/>
                <a:gd name="connsiteX3" fmla="*/ 48044 w 198389"/>
                <a:gd name="connsiteY3" fmla="*/ 14364 h 225035"/>
                <a:gd name="connsiteX4" fmla="*/ 12677 w 198389"/>
                <a:gd name="connsiteY4" fmla="*/ 54180 h 225035"/>
                <a:gd name="connsiteX5" fmla="*/ 0 w 198389"/>
                <a:gd name="connsiteY5" fmla="*/ 113148 h 225035"/>
                <a:gd name="connsiteX6" fmla="*/ 12677 w 198389"/>
                <a:gd name="connsiteY6" fmla="*/ 172242 h 225035"/>
                <a:gd name="connsiteX7" fmla="*/ 48552 w 198389"/>
                <a:gd name="connsiteY7" fmla="*/ 211176 h 225035"/>
                <a:gd name="connsiteX8" fmla="*/ 104329 w 198389"/>
                <a:gd name="connsiteY8" fmla="*/ 225036 h 225035"/>
                <a:gd name="connsiteX9" fmla="*/ 147049 w 198389"/>
                <a:gd name="connsiteY9" fmla="*/ 217728 h 225035"/>
                <a:gd name="connsiteX10" fmla="*/ 178234 w 198389"/>
                <a:gd name="connsiteY10" fmla="*/ 197190 h 225035"/>
                <a:gd name="connsiteX11" fmla="*/ 195601 w 198389"/>
                <a:gd name="connsiteY11" fmla="*/ 166194 h 225035"/>
                <a:gd name="connsiteX12" fmla="*/ 155289 w 198389"/>
                <a:gd name="connsiteY12" fmla="*/ 159012 h 225035"/>
                <a:gd name="connsiteX13" fmla="*/ 144133 w 198389"/>
                <a:gd name="connsiteY13" fmla="*/ 176148 h 225035"/>
                <a:gd name="connsiteX14" fmla="*/ 126893 w 198389"/>
                <a:gd name="connsiteY14" fmla="*/ 186606 h 225035"/>
                <a:gd name="connsiteX15" fmla="*/ 104836 w 198389"/>
                <a:gd name="connsiteY15" fmla="*/ 190134 h 225035"/>
                <a:gd name="connsiteX16" fmla="*/ 72130 w 198389"/>
                <a:gd name="connsiteY16" fmla="*/ 182070 h 225035"/>
                <a:gd name="connsiteX17" fmla="*/ 50453 w 198389"/>
                <a:gd name="connsiteY17" fmla="*/ 158760 h 225035"/>
                <a:gd name="connsiteX18" fmla="*/ 42974 w 198389"/>
                <a:gd name="connsiteY18" fmla="*/ 124614 h 225035"/>
                <a:gd name="connsiteX19" fmla="*/ 198389 w 198389"/>
                <a:gd name="connsiteY19" fmla="*/ 124614 h 225035"/>
                <a:gd name="connsiteX20" fmla="*/ 198389 w 198389"/>
                <a:gd name="connsiteY20" fmla="*/ 109620 h 225035"/>
                <a:gd name="connsiteX21" fmla="*/ 190403 w 198389"/>
                <a:gd name="connsiteY21" fmla="*/ 59220 h 225035"/>
                <a:gd name="connsiteX22" fmla="*/ 168472 w 198389"/>
                <a:gd name="connsiteY22" fmla="*/ 25200 h 225035"/>
                <a:gd name="connsiteX23" fmla="*/ 42974 w 198389"/>
                <a:gd name="connsiteY23" fmla="*/ 92736 h 225035"/>
                <a:gd name="connsiteX24" fmla="*/ 49693 w 198389"/>
                <a:gd name="connsiteY24" fmla="*/ 66402 h 225035"/>
                <a:gd name="connsiteX25" fmla="*/ 70229 w 198389"/>
                <a:gd name="connsiteY25" fmla="*/ 43722 h 225035"/>
                <a:gd name="connsiteX26" fmla="*/ 101540 w 198389"/>
                <a:gd name="connsiteY26" fmla="*/ 35028 h 225035"/>
                <a:gd name="connsiteX27" fmla="*/ 130443 w 198389"/>
                <a:gd name="connsiteY27" fmla="*/ 42588 h 225035"/>
                <a:gd name="connsiteX28" fmla="*/ 149584 w 198389"/>
                <a:gd name="connsiteY28" fmla="*/ 63126 h 225035"/>
                <a:gd name="connsiteX29" fmla="*/ 156430 w 198389"/>
                <a:gd name="connsiteY29" fmla="*/ 92862 h 225035"/>
                <a:gd name="connsiteX30" fmla="*/ 42974 w 198389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9" h="225035">
                  <a:moveTo>
                    <a:pt x="168472" y="25200"/>
                  </a:move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9000"/>
                    <a:pt x="33086" y="201978"/>
                    <a:pt x="48552" y="211176"/>
                  </a:cubicBezTo>
                  <a:cubicBezTo>
                    <a:pt x="64144" y="220374"/>
                    <a:pt x="82652" y="225036"/>
                    <a:pt x="104329" y="225036"/>
                  </a:cubicBezTo>
                  <a:cubicBezTo>
                    <a:pt x="120301" y="225036"/>
                    <a:pt x="134499" y="222642"/>
                    <a:pt x="147049" y="217728"/>
                  </a:cubicBezTo>
                  <a:cubicBezTo>
                    <a:pt x="159599" y="212814"/>
                    <a:pt x="169993" y="206010"/>
                    <a:pt x="178234" y="197190"/>
                  </a:cubicBezTo>
                  <a:cubicBezTo>
                    <a:pt x="186600" y="188370"/>
                    <a:pt x="192304" y="178038"/>
                    <a:pt x="195601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6" y="190134"/>
                  </a:cubicBezTo>
                  <a:cubicBezTo>
                    <a:pt x="92413" y="190134"/>
                    <a:pt x="81511" y="187488"/>
                    <a:pt x="72130" y="182070"/>
                  </a:cubicBezTo>
                  <a:cubicBezTo>
                    <a:pt x="62876" y="176778"/>
                    <a:pt x="55524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3" y="66402"/>
                  </a:cubicBezTo>
                  <a:cubicBezTo>
                    <a:pt x="54510" y="57078"/>
                    <a:pt x="61355" y="49518"/>
                    <a:pt x="70229" y="43722"/>
                  </a:cubicBezTo>
                  <a:cubicBezTo>
                    <a:pt x="79102" y="37926"/>
                    <a:pt x="89497" y="35028"/>
                    <a:pt x="101540" y="35028"/>
                  </a:cubicBezTo>
                  <a:cubicBezTo>
                    <a:pt x="112568" y="35028"/>
                    <a:pt x="122203" y="37548"/>
                    <a:pt x="130443" y="42588"/>
                  </a:cubicBezTo>
                  <a:cubicBezTo>
                    <a:pt x="138682" y="47628"/>
                    <a:pt x="145021" y="54432"/>
                    <a:pt x="149584" y="63126"/>
                  </a:cubicBezTo>
                  <a:cubicBezTo>
                    <a:pt x="154148" y="71820"/>
                    <a:pt x="156430" y="81648"/>
                    <a:pt x="156430" y="92862"/>
                  </a:cubicBezTo>
                  <a:lnTo>
                    <a:pt x="42974" y="9286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7" name="Freihandform 174">
              <a:extLst>
                <a:ext uri="{FF2B5EF4-FFF2-40B4-BE49-F238E27FC236}">
                  <a16:creationId xmlns:a16="http://schemas.microsoft.com/office/drawing/2014/main" id="{70846D43-1AA3-46AE-A131-3960116669EA}"/>
                </a:ext>
              </a:extLst>
            </p:cNvPr>
            <p:cNvSpPr/>
            <p:nvPr/>
          </p:nvSpPr>
          <p:spPr bwMode="black">
            <a:xfrm>
              <a:off x="8920858" y="3356739"/>
              <a:ext cx="117258" cy="220877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8" name="Freihandform 175">
              <a:extLst>
                <a:ext uri="{FF2B5EF4-FFF2-40B4-BE49-F238E27FC236}">
                  <a16:creationId xmlns:a16="http://schemas.microsoft.com/office/drawing/2014/main" id="{9D4BA814-ACD9-43ED-9942-88AEA62D8351}"/>
                </a:ext>
              </a:extLst>
            </p:cNvPr>
            <p:cNvSpPr/>
            <p:nvPr/>
          </p:nvSpPr>
          <p:spPr bwMode="black">
            <a:xfrm>
              <a:off x="6931516" y="3766742"/>
              <a:ext cx="307914" cy="217854"/>
            </a:xfrm>
            <a:custGeom>
              <a:avLst/>
              <a:gdLst>
                <a:gd name="connsiteX0" fmla="*/ 221207 w 307914"/>
                <a:gd name="connsiteY0" fmla="*/ 159264 h 217854"/>
                <a:gd name="connsiteX1" fmla="*/ 219052 w 307914"/>
                <a:gd name="connsiteY1" fmla="*/ 159264 h 217854"/>
                <a:gd name="connsiteX2" fmla="*/ 176205 w 307914"/>
                <a:gd name="connsiteY2" fmla="*/ 0 h 217854"/>
                <a:gd name="connsiteX3" fmla="*/ 132217 w 307914"/>
                <a:gd name="connsiteY3" fmla="*/ 0 h 217854"/>
                <a:gd name="connsiteX4" fmla="*/ 89117 w 307914"/>
                <a:gd name="connsiteY4" fmla="*/ 159894 h 217854"/>
                <a:gd name="connsiteX5" fmla="*/ 86961 w 307914"/>
                <a:gd name="connsiteY5" fmla="*/ 159894 h 217854"/>
                <a:gd name="connsiteX6" fmla="*/ 43988 w 307914"/>
                <a:gd name="connsiteY6" fmla="*/ 0 h 217854"/>
                <a:gd name="connsiteX7" fmla="*/ 0 w 307914"/>
                <a:gd name="connsiteY7" fmla="*/ 0 h 217854"/>
                <a:gd name="connsiteX8" fmla="*/ 64397 w 307914"/>
                <a:gd name="connsiteY8" fmla="*/ 217854 h 217854"/>
                <a:gd name="connsiteX9" fmla="*/ 107751 w 307914"/>
                <a:gd name="connsiteY9" fmla="*/ 217854 h 217854"/>
                <a:gd name="connsiteX10" fmla="*/ 152246 w 307914"/>
                <a:gd name="connsiteY10" fmla="*/ 60606 h 217854"/>
                <a:gd name="connsiteX11" fmla="*/ 155542 w 307914"/>
                <a:gd name="connsiteY11" fmla="*/ 60606 h 217854"/>
                <a:gd name="connsiteX12" fmla="*/ 200037 w 307914"/>
                <a:gd name="connsiteY12" fmla="*/ 217854 h 217854"/>
                <a:gd name="connsiteX13" fmla="*/ 243518 w 307914"/>
                <a:gd name="connsiteY13" fmla="*/ 217854 h 217854"/>
                <a:gd name="connsiteX14" fmla="*/ 307915 w 307914"/>
                <a:gd name="connsiteY14" fmla="*/ 0 h 217854"/>
                <a:gd name="connsiteX15" fmla="*/ 263800 w 307914"/>
                <a:gd name="connsiteY15" fmla="*/ 0 h 21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7914" h="217854">
                  <a:moveTo>
                    <a:pt x="221207" y="159264"/>
                  </a:moveTo>
                  <a:lnTo>
                    <a:pt x="219052" y="159264"/>
                  </a:lnTo>
                  <a:lnTo>
                    <a:pt x="176205" y="0"/>
                  </a:lnTo>
                  <a:lnTo>
                    <a:pt x="132217" y="0"/>
                  </a:lnTo>
                  <a:lnTo>
                    <a:pt x="89117" y="159894"/>
                  </a:lnTo>
                  <a:lnTo>
                    <a:pt x="86961" y="159894"/>
                  </a:lnTo>
                  <a:lnTo>
                    <a:pt x="43988" y="0"/>
                  </a:lnTo>
                  <a:lnTo>
                    <a:pt x="0" y="0"/>
                  </a:lnTo>
                  <a:lnTo>
                    <a:pt x="64397" y="217854"/>
                  </a:lnTo>
                  <a:lnTo>
                    <a:pt x="107751" y="217854"/>
                  </a:lnTo>
                  <a:lnTo>
                    <a:pt x="152246" y="60606"/>
                  </a:lnTo>
                  <a:lnTo>
                    <a:pt x="155542" y="60606"/>
                  </a:lnTo>
                  <a:lnTo>
                    <a:pt x="200037" y="217854"/>
                  </a:lnTo>
                  <a:lnTo>
                    <a:pt x="243518" y="217854"/>
                  </a:lnTo>
                  <a:lnTo>
                    <a:pt x="307915" y="0"/>
                  </a:lnTo>
                  <a:lnTo>
                    <a:pt x="263800" y="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9" name="Freihandform 176">
              <a:extLst>
                <a:ext uri="{FF2B5EF4-FFF2-40B4-BE49-F238E27FC236}">
                  <a16:creationId xmlns:a16="http://schemas.microsoft.com/office/drawing/2014/main" id="{B201B25F-8CBA-471D-89C7-653A75F848BD}"/>
                </a:ext>
              </a:extLst>
            </p:cNvPr>
            <p:cNvSpPr/>
            <p:nvPr/>
          </p:nvSpPr>
          <p:spPr bwMode="black">
            <a:xfrm>
              <a:off x="7263770" y="3763970"/>
              <a:ext cx="204093" cy="224910"/>
            </a:xfrm>
            <a:custGeom>
              <a:avLst/>
              <a:gdLst>
                <a:gd name="connsiteX0" fmla="*/ 155796 w 204093"/>
                <a:gd name="connsiteY0" fmla="*/ 13986 h 224910"/>
                <a:gd name="connsiteX1" fmla="*/ 102047 w 204093"/>
                <a:gd name="connsiteY1" fmla="*/ 0 h 224910"/>
                <a:gd name="connsiteX2" fmla="*/ 48298 w 204093"/>
                <a:gd name="connsiteY2" fmla="*/ 13986 h 224910"/>
                <a:gd name="connsiteX3" fmla="*/ 12677 w 204093"/>
                <a:gd name="connsiteY3" fmla="*/ 53424 h 224910"/>
                <a:gd name="connsiteX4" fmla="*/ 0 w 204093"/>
                <a:gd name="connsiteY4" fmla="*/ 112644 h 224910"/>
                <a:gd name="connsiteX5" fmla="*/ 12677 w 204093"/>
                <a:gd name="connsiteY5" fmla="*/ 171612 h 224910"/>
                <a:gd name="connsiteX6" fmla="*/ 48298 w 204093"/>
                <a:gd name="connsiteY6" fmla="*/ 210924 h 224910"/>
                <a:gd name="connsiteX7" fmla="*/ 102047 w 204093"/>
                <a:gd name="connsiteY7" fmla="*/ 224910 h 224910"/>
                <a:gd name="connsiteX8" fmla="*/ 155796 w 204093"/>
                <a:gd name="connsiteY8" fmla="*/ 210924 h 224910"/>
                <a:gd name="connsiteX9" fmla="*/ 191417 w 204093"/>
                <a:gd name="connsiteY9" fmla="*/ 171612 h 224910"/>
                <a:gd name="connsiteX10" fmla="*/ 204094 w 204093"/>
                <a:gd name="connsiteY10" fmla="*/ 112644 h 224910"/>
                <a:gd name="connsiteX11" fmla="*/ 191417 w 204093"/>
                <a:gd name="connsiteY11" fmla="*/ 53424 h 224910"/>
                <a:gd name="connsiteX12" fmla="*/ 155796 w 204093"/>
                <a:gd name="connsiteY12" fmla="*/ 13986 h 224910"/>
                <a:gd name="connsiteX13" fmla="*/ 154655 w 204093"/>
                <a:gd name="connsiteY13" fmla="*/ 150948 h 224910"/>
                <a:gd name="connsiteX14" fmla="*/ 135133 w 204093"/>
                <a:gd name="connsiteY14" fmla="*/ 178920 h 224910"/>
                <a:gd name="connsiteX15" fmla="*/ 102047 w 204093"/>
                <a:gd name="connsiteY15" fmla="*/ 189378 h 224910"/>
                <a:gd name="connsiteX16" fmla="*/ 68707 w 204093"/>
                <a:gd name="connsiteY16" fmla="*/ 178920 h 224910"/>
                <a:gd name="connsiteX17" fmla="*/ 49185 w 204093"/>
                <a:gd name="connsiteY17" fmla="*/ 150948 h 224910"/>
                <a:gd name="connsiteX18" fmla="*/ 42847 w 204093"/>
                <a:gd name="connsiteY18" fmla="*/ 112518 h 224910"/>
                <a:gd name="connsiteX19" fmla="*/ 49185 w 204093"/>
                <a:gd name="connsiteY19" fmla="*/ 74214 h 224910"/>
                <a:gd name="connsiteX20" fmla="*/ 68707 w 204093"/>
                <a:gd name="connsiteY20" fmla="*/ 46116 h 224910"/>
                <a:gd name="connsiteX21" fmla="*/ 102047 w 204093"/>
                <a:gd name="connsiteY21" fmla="*/ 35532 h 224910"/>
                <a:gd name="connsiteX22" fmla="*/ 135133 w 204093"/>
                <a:gd name="connsiteY22" fmla="*/ 46116 h 224910"/>
                <a:gd name="connsiteX23" fmla="*/ 154655 w 204093"/>
                <a:gd name="connsiteY23" fmla="*/ 74214 h 224910"/>
                <a:gd name="connsiteX24" fmla="*/ 160993 w 204093"/>
                <a:gd name="connsiteY24" fmla="*/ 112518 h 224910"/>
                <a:gd name="connsiteX25" fmla="*/ 154655 w 204093"/>
                <a:gd name="connsiteY25" fmla="*/ 150948 h 224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10">
                  <a:moveTo>
                    <a:pt x="155796" y="13986"/>
                  </a:move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6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3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6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0" y="154854"/>
                    <a:pt x="204094" y="135072"/>
                    <a:pt x="204094" y="112644"/>
                  </a:cubicBezTo>
                  <a:cubicBezTo>
                    <a:pt x="204094" y="90090"/>
                    <a:pt x="199910" y="70308"/>
                    <a:pt x="191417" y="53424"/>
                  </a:cubicBezTo>
                  <a:cubicBezTo>
                    <a:pt x="182924" y="36540"/>
                    <a:pt x="171007" y="23310"/>
                    <a:pt x="155796" y="13986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09" y="189378"/>
                    <a:pt x="77581" y="185850"/>
                    <a:pt x="68707" y="178920"/>
                  </a:cubicBezTo>
                  <a:cubicBezTo>
                    <a:pt x="59961" y="171990"/>
                    <a:pt x="53368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8" y="62496"/>
                    <a:pt x="59961" y="53172"/>
                    <a:pt x="68707" y="46116"/>
                  </a:cubicBezTo>
                  <a:cubicBezTo>
                    <a:pt x="77454" y="39060"/>
                    <a:pt x="88609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40" name="Freihandform 177">
              <a:extLst>
                <a:ext uri="{FF2B5EF4-FFF2-40B4-BE49-F238E27FC236}">
                  <a16:creationId xmlns:a16="http://schemas.microsoft.com/office/drawing/2014/main" id="{367348F6-FDD3-43E1-9597-AB00371D537D}"/>
                </a:ext>
              </a:extLst>
            </p:cNvPr>
            <p:cNvSpPr/>
            <p:nvPr/>
          </p:nvSpPr>
          <p:spPr bwMode="black">
            <a:xfrm>
              <a:off x="7515782" y="3763467"/>
              <a:ext cx="117258" cy="220877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41" name="Freihandform 178">
              <a:extLst>
                <a:ext uri="{FF2B5EF4-FFF2-40B4-BE49-F238E27FC236}">
                  <a16:creationId xmlns:a16="http://schemas.microsoft.com/office/drawing/2014/main" id="{DBE65B5B-CA5C-4C31-B67D-A65E7D7C3248}"/>
                </a:ext>
              </a:extLst>
            </p:cNvPr>
            <p:cNvSpPr/>
            <p:nvPr/>
          </p:nvSpPr>
          <p:spPr bwMode="black">
            <a:xfrm>
              <a:off x="7670436" y="3694167"/>
              <a:ext cx="42720" cy="290304"/>
            </a:xfrm>
            <a:custGeom>
              <a:avLst/>
              <a:gdLst>
                <a:gd name="connsiteX0" fmla="*/ 0 w 42720"/>
                <a:gd name="connsiteY0" fmla="*/ 0 h 290304"/>
                <a:gd name="connsiteX1" fmla="*/ 42720 w 42720"/>
                <a:gd name="connsiteY1" fmla="*/ 0 h 290304"/>
                <a:gd name="connsiteX2" fmla="*/ 42720 w 42720"/>
                <a:gd name="connsiteY2" fmla="*/ 290304 h 290304"/>
                <a:gd name="connsiteX3" fmla="*/ 0 w 42720"/>
                <a:gd name="connsiteY3" fmla="*/ 290304 h 29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90304">
                  <a:moveTo>
                    <a:pt x="0" y="0"/>
                  </a:moveTo>
                  <a:lnTo>
                    <a:pt x="42720" y="0"/>
                  </a:lnTo>
                  <a:lnTo>
                    <a:pt x="42720" y="290304"/>
                  </a:lnTo>
                  <a:lnTo>
                    <a:pt x="0" y="290304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42" name="Freihandform 179">
              <a:extLst>
                <a:ext uri="{FF2B5EF4-FFF2-40B4-BE49-F238E27FC236}">
                  <a16:creationId xmlns:a16="http://schemas.microsoft.com/office/drawing/2014/main" id="{D7A19EE3-8A83-4A8C-BA3B-F386AC00EC1A}"/>
                </a:ext>
              </a:extLst>
            </p:cNvPr>
            <p:cNvSpPr/>
            <p:nvPr/>
          </p:nvSpPr>
          <p:spPr bwMode="black">
            <a:xfrm>
              <a:off x="7761328" y="3694167"/>
              <a:ext cx="200290" cy="294587"/>
            </a:xfrm>
            <a:custGeom>
              <a:avLst/>
              <a:gdLst>
                <a:gd name="connsiteX0" fmla="*/ 157444 w 200290"/>
                <a:gd name="connsiteY0" fmla="*/ 107856 h 294587"/>
                <a:gd name="connsiteX1" fmla="*/ 154908 w 200290"/>
                <a:gd name="connsiteY1" fmla="*/ 107856 h 294587"/>
                <a:gd name="connsiteX2" fmla="*/ 144133 w 200290"/>
                <a:gd name="connsiteY2" fmla="*/ 92106 h 294587"/>
                <a:gd name="connsiteX3" fmla="*/ 124738 w 200290"/>
                <a:gd name="connsiteY3" fmla="*/ 76482 h 294587"/>
                <a:gd name="connsiteX4" fmla="*/ 91905 w 200290"/>
                <a:gd name="connsiteY4" fmla="*/ 69804 h 294587"/>
                <a:gd name="connsiteX5" fmla="*/ 44622 w 200290"/>
                <a:gd name="connsiteY5" fmla="*/ 83160 h 294587"/>
                <a:gd name="connsiteX6" fmla="*/ 11916 w 200290"/>
                <a:gd name="connsiteY6" fmla="*/ 121590 h 294587"/>
                <a:gd name="connsiteX7" fmla="*/ 0 w 200290"/>
                <a:gd name="connsiteY7" fmla="*/ 181944 h 294587"/>
                <a:gd name="connsiteX8" fmla="*/ 11789 w 200290"/>
                <a:gd name="connsiteY8" fmla="*/ 242424 h 294587"/>
                <a:gd name="connsiteX9" fmla="*/ 44368 w 200290"/>
                <a:gd name="connsiteY9" fmla="*/ 281106 h 294587"/>
                <a:gd name="connsiteX10" fmla="*/ 91652 w 200290"/>
                <a:gd name="connsiteY10" fmla="*/ 294588 h 294587"/>
                <a:gd name="connsiteX11" fmla="*/ 124231 w 200290"/>
                <a:gd name="connsiteY11" fmla="*/ 287910 h 294587"/>
                <a:gd name="connsiteX12" fmla="*/ 144006 w 200290"/>
                <a:gd name="connsiteY12" fmla="*/ 272286 h 294587"/>
                <a:gd name="connsiteX13" fmla="*/ 155035 w 200290"/>
                <a:gd name="connsiteY13" fmla="*/ 256410 h 294587"/>
                <a:gd name="connsiteX14" fmla="*/ 158585 w 200290"/>
                <a:gd name="connsiteY14" fmla="*/ 256410 h 294587"/>
                <a:gd name="connsiteX15" fmla="*/ 158585 w 200290"/>
                <a:gd name="connsiteY15" fmla="*/ 290304 h 294587"/>
                <a:gd name="connsiteX16" fmla="*/ 200290 w 200290"/>
                <a:gd name="connsiteY16" fmla="*/ 290304 h 294587"/>
                <a:gd name="connsiteX17" fmla="*/ 200290 w 200290"/>
                <a:gd name="connsiteY17" fmla="*/ 0 h 294587"/>
                <a:gd name="connsiteX18" fmla="*/ 157570 w 200290"/>
                <a:gd name="connsiteY18" fmla="*/ 0 h 294587"/>
                <a:gd name="connsiteX19" fmla="*/ 157570 w 200290"/>
                <a:gd name="connsiteY19" fmla="*/ 107856 h 294587"/>
                <a:gd name="connsiteX20" fmla="*/ 151612 w 200290"/>
                <a:gd name="connsiteY20" fmla="*/ 221760 h 294587"/>
                <a:gd name="connsiteX21" fmla="*/ 132217 w 200290"/>
                <a:gd name="connsiteY21" fmla="*/ 248724 h 294587"/>
                <a:gd name="connsiteX22" fmla="*/ 101033 w 200290"/>
                <a:gd name="connsiteY22" fmla="*/ 258426 h 294587"/>
                <a:gd name="connsiteX23" fmla="*/ 69214 w 200290"/>
                <a:gd name="connsiteY23" fmla="*/ 248346 h 294587"/>
                <a:gd name="connsiteX24" fmla="*/ 49819 w 200290"/>
                <a:gd name="connsiteY24" fmla="*/ 220752 h 294587"/>
                <a:gd name="connsiteX25" fmla="*/ 43227 w 200290"/>
                <a:gd name="connsiteY25" fmla="*/ 181440 h 294587"/>
                <a:gd name="connsiteX26" fmla="*/ 49693 w 200290"/>
                <a:gd name="connsiteY26" fmla="*/ 142758 h 294587"/>
                <a:gd name="connsiteX27" fmla="*/ 68961 w 200290"/>
                <a:gd name="connsiteY27" fmla="*/ 115668 h 294587"/>
                <a:gd name="connsiteX28" fmla="*/ 101033 w 200290"/>
                <a:gd name="connsiteY28" fmla="*/ 105714 h 294587"/>
                <a:gd name="connsiteX29" fmla="*/ 132471 w 200290"/>
                <a:gd name="connsiteY29" fmla="*/ 115164 h 294587"/>
                <a:gd name="connsiteX30" fmla="*/ 151739 w 200290"/>
                <a:gd name="connsiteY30" fmla="*/ 141624 h 294587"/>
                <a:gd name="connsiteX31" fmla="*/ 158331 w 200290"/>
                <a:gd name="connsiteY31" fmla="*/ 181314 h 294587"/>
                <a:gd name="connsiteX32" fmla="*/ 151612 w 200290"/>
                <a:gd name="connsiteY32" fmla="*/ 221760 h 29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290" h="294587">
                  <a:moveTo>
                    <a:pt x="157444" y="107856"/>
                  </a:moveTo>
                  <a:lnTo>
                    <a:pt x="154908" y="107856"/>
                  </a:lnTo>
                  <a:cubicBezTo>
                    <a:pt x="152373" y="103320"/>
                    <a:pt x="148697" y="98028"/>
                    <a:pt x="144133" y="92106"/>
                  </a:cubicBezTo>
                  <a:cubicBezTo>
                    <a:pt x="139443" y="86184"/>
                    <a:pt x="132978" y="80892"/>
                    <a:pt x="124738" y="76482"/>
                  </a:cubicBezTo>
                  <a:cubicBezTo>
                    <a:pt x="116371" y="71946"/>
                    <a:pt x="105470" y="69804"/>
                    <a:pt x="91905" y="69804"/>
                  </a:cubicBezTo>
                  <a:cubicBezTo>
                    <a:pt x="74285" y="69804"/>
                    <a:pt x="58566" y="74214"/>
                    <a:pt x="44622" y="83160"/>
                  </a:cubicBezTo>
                  <a:cubicBezTo>
                    <a:pt x="30678" y="92106"/>
                    <a:pt x="19775" y="104832"/>
                    <a:pt x="11916" y="121590"/>
                  </a:cubicBezTo>
                  <a:cubicBezTo>
                    <a:pt x="3930" y="138348"/>
                    <a:pt x="0" y="158508"/>
                    <a:pt x="0" y="181944"/>
                  </a:cubicBezTo>
                  <a:cubicBezTo>
                    <a:pt x="0" y="205506"/>
                    <a:pt x="3930" y="225666"/>
                    <a:pt x="11789" y="242424"/>
                  </a:cubicBezTo>
                  <a:cubicBezTo>
                    <a:pt x="19649" y="259182"/>
                    <a:pt x="30424" y="272034"/>
                    <a:pt x="44368" y="281106"/>
                  </a:cubicBezTo>
                  <a:cubicBezTo>
                    <a:pt x="58186" y="290178"/>
                    <a:pt x="73905" y="294588"/>
                    <a:pt x="91652" y="294588"/>
                  </a:cubicBezTo>
                  <a:cubicBezTo>
                    <a:pt x="104962" y="294588"/>
                    <a:pt x="115738" y="292320"/>
                    <a:pt x="124231" y="287910"/>
                  </a:cubicBezTo>
                  <a:cubicBezTo>
                    <a:pt x="132597" y="283500"/>
                    <a:pt x="139189" y="278208"/>
                    <a:pt x="144006" y="272286"/>
                  </a:cubicBezTo>
                  <a:cubicBezTo>
                    <a:pt x="148823" y="266364"/>
                    <a:pt x="152500" y="261072"/>
                    <a:pt x="155035" y="256410"/>
                  </a:cubicBezTo>
                  <a:lnTo>
                    <a:pt x="158585" y="256410"/>
                  </a:lnTo>
                  <a:lnTo>
                    <a:pt x="158585" y="290304"/>
                  </a:lnTo>
                  <a:lnTo>
                    <a:pt x="200290" y="290304"/>
                  </a:lnTo>
                  <a:lnTo>
                    <a:pt x="200290" y="0"/>
                  </a:lnTo>
                  <a:lnTo>
                    <a:pt x="157570" y="0"/>
                  </a:lnTo>
                  <a:lnTo>
                    <a:pt x="157570" y="107856"/>
                  </a:lnTo>
                  <a:close/>
                  <a:moveTo>
                    <a:pt x="151612" y="221760"/>
                  </a:moveTo>
                  <a:cubicBezTo>
                    <a:pt x="147175" y="233226"/>
                    <a:pt x="140711" y="242298"/>
                    <a:pt x="132217" y="248724"/>
                  </a:cubicBezTo>
                  <a:cubicBezTo>
                    <a:pt x="123724" y="255150"/>
                    <a:pt x="113329" y="258426"/>
                    <a:pt x="101033" y="258426"/>
                  </a:cubicBezTo>
                  <a:cubicBezTo>
                    <a:pt x="88356" y="258426"/>
                    <a:pt x="77708" y="255024"/>
                    <a:pt x="69214" y="248346"/>
                  </a:cubicBezTo>
                  <a:cubicBezTo>
                    <a:pt x="60594" y="241542"/>
                    <a:pt x="54129" y="232344"/>
                    <a:pt x="49819" y="220752"/>
                  </a:cubicBezTo>
                  <a:cubicBezTo>
                    <a:pt x="45382" y="209160"/>
                    <a:pt x="43227" y="196056"/>
                    <a:pt x="43227" y="181440"/>
                  </a:cubicBezTo>
                  <a:cubicBezTo>
                    <a:pt x="43227" y="167076"/>
                    <a:pt x="45382" y="154224"/>
                    <a:pt x="49693" y="142758"/>
                  </a:cubicBezTo>
                  <a:cubicBezTo>
                    <a:pt x="54003" y="131292"/>
                    <a:pt x="60467" y="122346"/>
                    <a:pt x="68961" y="115668"/>
                  </a:cubicBezTo>
                  <a:cubicBezTo>
                    <a:pt x="77454" y="108990"/>
                    <a:pt x="88229" y="105714"/>
                    <a:pt x="101033" y="105714"/>
                  </a:cubicBezTo>
                  <a:cubicBezTo>
                    <a:pt x="113456" y="105714"/>
                    <a:pt x="123977" y="108864"/>
                    <a:pt x="132471" y="115164"/>
                  </a:cubicBezTo>
                  <a:cubicBezTo>
                    <a:pt x="140964" y="121464"/>
                    <a:pt x="147302" y="130284"/>
                    <a:pt x="151739" y="141624"/>
                  </a:cubicBezTo>
                  <a:cubicBezTo>
                    <a:pt x="156049" y="152964"/>
                    <a:pt x="158331" y="166194"/>
                    <a:pt x="158331" y="181314"/>
                  </a:cubicBezTo>
                  <a:cubicBezTo>
                    <a:pt x="158204" y="196812"/>
                    <a:pt x="156049" y="210168"/>
                    <a:pt x="151612" y="22176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47" name="Freihandform 180">
              <a:extLst>
                <a:ext uri="{FF2B5EF4-FFF2-40B4-BE49-F238E27FC236}">
                  <a16:creationId xmlns:a16="http://schemas.microsoft.com/office/drawing/2014/main" id="{721CEA33-54CD-4866-BF78-AC672DEE72B4}"/>
                </a:ext>
              </a:extLst>
            </p:cNvPr>
            <p:cNvSpPr/>
            <p:nvPr/>
          </p:nvSpPr>
          <p:spPr bwMode="black">
            <a:xfrm>
              <a:off x="8022339" y="3930669"/>
              <a:ext cx="57044" cy="56573"/>
            </a:xfrm>
            <a:custGeom>
              <a:avLst/>
              <a:gdLst>
                <a:gd name="connsiteX0" fmla="*/ 28395 w 57044"/>
                <a:gd name="connsiteY0" fmla="*/ 0 h 56573"/>
                <a:gd name="connsiteX1" fmla="*/ 8367 w 57044"/>
                <a:gd name="connsiteY1" fmla="*/ 8316 h 56573"/>
                <a:gd name="connsiteX2" fmla="*/ 0 w 57044"/>
                <a:gd name="connsiteY2" fmla="*/ 28224 h 56573"/>
                <a:gd name="connsiteX3" fmla="*/ 8367 w 57044"/>
                <a:gd name="connsiteY3" fmla="*/ 48258 h 56573"/>
                <a:gd name="connsiteX4" fmla="*/ 28395 w 57044"/>
                <a:gd name="connsiteY4" fmla="*/ 56574 h 56573"/>
                <a:gd name="connsiteX5" fmla="*/ 42720 w 57044"/>
                <a:gd name="connsiteY5" fmla="*/ 52794 h 56573"/>
                <a:gd name="connsiteX6" fmla="*/ 53115 w 57044"/>
                <a:gd name="connsiteY6" fmla="*/ 42462 h 56573"/>
                <a:gd name="connsiteX7" fmla="*/ 57045 w 57044"/>
                <a:gd name="connsiteY7" fmla="*/ 28224 h 56573"/>
                <a:gd name="connsiteX8" fmla="*/ 48678 w 57044"/>
                <a:gd name="connsiteY8" fmla="*/ 8316 h 56573"/>
                <a:gd name="connsiteX9" fmla="*/ 28395 w 57044"/>
                <a:gd name="connsiteY9" fmla="*/ 0 h 5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44" h="56573">
                  <a:moveTo>
                    <a:pt x="28395" y="0"/>
                  </a:moveTo>
                  <a:cubicBezTo>
                    <a:pt x="20663" y="0"/>
                    <a:pt x="13944" y="2772"/>
                    <a:pt x="8367" y="8316"/>
                  </a:cubicBezTo>
                  <a:cubicBezTo>
                    <a:pt x="2789" y="13860"/>
                    <a:pt x="0" y="20538"/>
                    <a:pt x="0" y="28224"/>
                  </a:cubicBezTo>
                  <a:cubicBezTo>
                    <a:pt x="0" y="36036"/>
                    <a:pt x="2789" y="42714"/>
                    <a:pt x="8367" y="48258"/>
                  </a:cubicBezTo>
                  <a:cubicBezTo>
                    <a:pt x="13944" y="53802"/>
                    <a:pt x="20663" y="56574"/>
                    <a:pt x="28395" y="56574"/>
                  </a:cubicBezTo>
                  <a:cubicBezTo>
                    <a:pt x="33593" y="56574"/>
                    <a:pt x="38410" y="55314"/>
                    <a:pt x="42720" y="52794"/>
                  </a:cubicBezTo>
                  <a:cubicBezTo>
                    <a:pt x="47030" y="50274"/>
                    <a:pt x="50453" y="46872"/>
                    <a:pt x="53115" y="42462"/>
                  </a:cubicBezTo>
                  <a:cubicBezTo>
                    <a:pt x="55777" y="38178"/>
                    <a:pt x="57045" y="33390"/>
                    <a:pt x="57045" y="28224"/>
                  </a:cubicBezTo>
                  <a:cubicBezTo>
                    <a:pt x="57045" y="20412"/>
                    <a:pt x="54256" y="13860"/>
                    <a:pt x="48678" y="8316"/>
                  </a:cubicBezTo>
                  <a:cubicBezTo>
                    <a:pt x="42847" y="2772"/>
                    <a:pt x="36128" y="0"/>
                    <a:pt x="28395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43B18006-68CE-4C63-8A29-74153CE8E043}"/>
              </a:ext>
            </a:extLst>
          </p:cNvPr>
          <p:cNvSpPr txBox="1">
            <a:spLocks/>
          </p:cNvSpPr>
          <p:nvPr/>
        </p:nvSpPr>
        <p:spPr bwMode="black">
          <a:xfrm>
            <a:off x="263525" y="6243529"/>
            <a:ext cx="1166495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3000" b="0" i="0" kern="1200">
                <a:solidFill>
                  <a:schemeClr val="tx1"/>
                </a:solidFill>
                <a:latin typeface="Inter Light" panose="02000403000000020004" pitchFamily="2" charset="0"/>
                <a:ea typeface="Inter Light" panose="02000403000000020004" pitchFamily="2" charset="0"/>
                <a:cs typeface="Inter Light" panose="02000403000000020004" pitchFamily="2" charset="0"/>
              </a:defRPr>
            </a:lvl1pPr>
            <a:lvl2pPr marL="4572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Symbol" pitchFamily="2" charset="2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buFont typeface="Symbol" pitchFamily="2" charset="2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r>
              <a:rPr lang="en-US" sz="1200">
                <a:solidFill>
                  <a:schemeClr val="bg1"/>
                </a:solidFill>
                <a:latin typeface="+mn-lt"/>
                <a:ea typeface="Inter Medium" panose="02000603000000020004" pitchFamily="2" charset="0"/>
                <a:cs typeface="Inter Medium" panose="02000603000000020004" pitchFamily="2" charset="0"/>
              </a:rPr>
              <a:t>GEA.com</a:t>
            </a:r>
          </a:p>
        </p:txBody>
      </p:sp>
    </p:spTree>
    <p:extLst>
      <p:ext uri="{BB962C8B-B14F-4D97-AF65-F5344CB8AC3E}">
        <p14:creationId xmlns:p14="http://schemas.microsoft.com/office/powerpoint/2010/main" val="10140391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748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4738F76F-C2DB-4B34-9BAC-06F432009917}"/>
              </a:ext>
            </a:extLst>
          </p:cNvPr>
          <p:cNvGrpSpPr/>
          <p:nvPr/>
        </p:nvGrpSpPr>
        <p:grpSpPr>
          <a:xfrm>
            <a:off x="3017104" y="2869119"/>
            <a:ext cx="6157792" cy="1119761"/>
            <a:chOff x="3017104" y="2869119"/>
            <a:chExt cx="6157792" cy="1119761"/>
          </a:xfrm>
          <a:solidFill>
            <a:schemeClr val="tx2"/>
          </a:solidFill>
        </p:grpSpPr>
        <p:sp>
          <p:nvSpPr>
            <p:cNvPr id="48" name="Freihandform 148">
              <a:extLst>
                <a:ext uri="{FF2B5EF4-FFF2-40B4-BE49-F238E27FC236}">
                  <a16:creationId xmlns:a16="http://schemas.microsoft.com/office/drawing/2014/main" id="{60AD947E-5C1C-4CAA-8DB7-0110EF336C27}"/>
                </a:ext>
              </a:extLst>
            </p:cNvPr>
            <p:cNvSpPr/>
            <p:nvPr/>
          </p:nvSpPr>
          <p:spPr>
            <a:xfrm>
              <a:off x="5655868" y="2880585"/>
              <a:ext cx="1018566" cy="1103885"/>
            </a:xfrm>
            <a:custGeom>
              <a:avLst/>
              <a:gdLst>
                <a:gd name="connsiteX0" fmla="*/ 462697 w 1018566"/>
                <a:gd name="connsiteY0" fmla="*/ 0 h 1103885"/>
                <a:gd name="connsiteX1" fmla="*/ 185079 w 1018566"/>
                <a:gd name="connsiteY1" fmla="*/ 0 h 1103885"/>
                <a:gd name="connsiteX2" fmla="*/ 0 w 1018566"/>
                <a:gd name="connsiteY2" fmla="*/ 368046 h 1103885"/>
                <a:gd name="connsiteX3" fmla="*/ 205995 w 1018566"/>
                <a:gd name="connsiteY3" fmla="*/ 368046 h 1103885"/>
                <a:gd name="connsiteX4" fmla="*/ 324648 w 1018566"/>
                <a:gd name="connsiteY4" fmla="*/ 132300 h 1103885"/>
                <a:gd name="connsiteX5" fmla="*/ 812698 w 1018566"/>
                <a:gd name="connsiteY5" fmla="*/ 1103886 h 1103885"/>
                <a:gd name="connsiteX6" fmla="*/ 1018566 w 1018566"/>
                <a:gd name="connsiteY6" fmla="*/ 1103886 h 1103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8566" h="1103885">
                  <a:moveTo>
                    <a:pt x="462697" y="0"/>
                  </a:moveTo>
                  <a:lnTo>
                    <a:pt x="185079" y="0"/>
                  </a:lnTo>
                  <a:lnTo>
                    <a:pt x="0" y="368046"/>
                  </a:lnTo>
                  <a:lnTo>
                    <a:pt x="205995" y="368046"/>
                  </a:lnTo>
                  <a:lnTo>
                    <a:pt x="324648" y="132300"/>
                  </a:lnTo>
                  <a:lnTo>
                    <a:pt x="812698" y="1103886"/>
                  </a:lnTo>
                  <a:lnTo>
                    <a:pt x="1018566" y="1103886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49" name="Freihandform 149">
              <a:extLst>
                <a:ext uri="{FF2B5EF4-FFF2-40B4-BE49-F238E27FC236}">
                  <a16:creationId xmlns:a16="http://schemas.microsoft.com/office/drawing/2014/main" id="{337F32C1-0D17-450E-9DFE-1F6C9CBE7504}"/>
                </a:ext>
              </a:extLst>
            </p:cNvPr>
            <p:cNvSpPr/>
            <p:nvPr/>
          </p:nvSpPr>
          <p:spPr>
            <a:xfrm>
              <a:off x="3017104" y="2880458"/>
              <a:ext cx="3101461" cy="1104011"/>
            </a:xfrm>
            <a:custGeom>
              <a:avLst/>
              <a:gdLst>
                <a:gd name="connsiteX0" fmla="*/ 3008922 w 3101461"/>
                <a:gd name="connsiteY0" fmla="*/ 460152 h 1104011"/>
                <a:gd name="connsiteX1" fmla="*/ 602646 w 3101461"/>
                <a:gd name="connsiteY1" fmla="*/ 460152 h 1104011"/>
                <a:gd name="connsiteX2" fmla="*/ 510107 w 3101461"/>
                <a:gd name="connsiteY2" fmla="*/ 644112 h 1104011"/>
                <a:gd name="connsiteX3" fmla="*/ 880264 w 3101461"/>
                <a:gd name="connsiteY3" fmla="*/ 644112 h 1104011"/>
                <a:gd name="connsiteX4" fmla="*/ 880264 w 3101461"/>
                <a:gd name="connsiteY4" fmla="*/ 920052 h 1104011"/>
                <a:gd name="connsiteX5" fmla="*/ 552193 w 3101461"/>
                <a:gd name="connsiteY5" fmla="*/ 920052 h 1104011"/>
                <a:gd name="connsiteX6" fmla="*/ 184191 w 3101461"/>
                <a:gd name="connsiteY6" fmla="*/ 552258 h 1104011"/>
                <a:gd name="connsiteX7" fmla="*/ 552193 w 3101461"/>
                <a:gd name="connsiteY7" fmla="*/ 184086 h 1104011"/>
                <a:gd name="connsiteX8" fmla="*/ 972550 w 3101461"/>
                <a:gd name="connsiteY8" fmla="*/ 184086 h 1104011"/>
                <a:gd name="connsiteX9" fmla="*/ 972550 w 3101461"/>
                <a:gd name="connsiteY9" fmla="*/ 0 h 1104011"/>
                <a:gd name="connsiteX10" fmla="*/ 552193 w 3101461"/>
                <a:gd name="connsiteY10" fmla="*/ 0 h 1104011"/>
                <a:gd name="connsiteX11" fmla="*/ 0 w 3101461"/>
                <a:gd name="connsiteY11" fmla="*/ 552258 h 1104011"/>
                <a:gd name="connsiteX12" fmla="*/ 552193 w 3101461"/>
                <a:gd name="connsiteY12" fmla="*/ 1104012 h 1104011"/>
                <a:gd name="connsiteX13" fmla="*/ 1065470 w 3101461"/>
                <a:gd name="connsiteY13" fmla="*/ 1104012 h 1104011"/>
                <a:gd name="connsiteX14" fmla="*/ 1065470 w 3101461"/>
                <a:gd name="connsiteY14" fmla="*/ 644112 h 1104011"/>
                <a:gd name="connsiteX15" fmla="*/ 1343088 w 3101461"/>
                <a:gd name="connsiteY15" fmla="*/ 644112 h 1104011"/>
                <a:gd name="connsiteX16" fmla="*/ 1343088 w 3101461"/>
                <a:gd name="connsiteY16" fmla="*/ 1104012 h 1104011"/>
                <a:gd name="connsiteX17" fmla="*/ 2083529 w 3101461"/>
                <a:gd name="connsiteY17" fmla="*/ 1104012 h 1104011"/>
                <a:gd name="connsiteX18" fmla="*/ 2176068 w 3101461"/>
                <a:gd name="connsiteY18" fmla="*/ 920052 h 1104011"/>
                <a:gd name="connsiteX19" fmla="*/ 1528166 w 3101461"/>
                <a:gd name="connsiteY19" fmla="*/ 920052 h 1104011"/>
                <a:gd name="connsiteX20" fmla="*/ 1528166 w 3101461"/>
                <a:gd name="connsiteY20" fmla="*/ 644112 h 1104011"/>
                <a:gd name="connsiteX21" fmla="*/ 2498815 w 3101461"/>
                <a:gd name="connsiteY21" fmla="*/ 644112 h 1104011"/>
                <a:gd name="connsiteX22" fmla="*/ 2268608 w 3101461"/>
                <a:gd name="connsiteY22" fmla="*/ 1104012 h 1104011"/>
                <a:gd name="connsiteX23" fmla="*/ 2474476 w 3101461"/>
                <a:gd name="connsiteY23" fmla="*/ 1104012 h 1104011"/>
                <a:gd name="connsiteX24" fmla="*/ 2705824 w 3101461"/>
                <a:gd name="connsiteY24" fmla="*/ 644112 h 1104011"/>
                <a:gd name="connsiteX25" fmla="*/ 3101461 w 3101461"/>
                <a:gd name="connsiteY25" fmla="*/ 644112 h 1104011"/>
                <a:gd name="connsiteX26" fmla="*/ 3008922 w 3101461"/>
                <a:gd name="connsiteY26" fmla="*/ 460152 h 110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01461" h="1104011">
                  <a:moveTo>
                    <a:pt x="3008922" y="460152"/>
                  </a:moveTo>
                  <a:lnTo>
                    <a:pt x="602646" y="460152"/>
                  </a:lnTo>
                  <a:lnTo>
                    <a:pt x="510107" y="644112"/>
                  </a:lnTo>
                  <a:lnTo>
                    <a:pt x="880264" y="644112"/>
                  </a:lnTo>
                  <a:lnTo>
                    <a:pt x="880264" y="920052"/>
                  </a:lnTo>
                  <a:lnTo>
                    <a:pt x="552193" y="920052"/>
                  </a:lnTo>
                  <a:cubicBezTo>
                    <a:pt x="349368" y="920052"/>
                    <a:pt x="184191" y="755748"/>
                    <a:pt x="184191" y="552258"/>
                  </a:cubicBezTo>
                  <a:cubicBezTo>
                    <a:pt x="184191" y="348768"/>
                    <a:pt x="349241" y="184086"/>
                    <a:pt x="552193" y="184086"/>
                  </a:cubicBezTo>
                  <a:lnTo>
                    <a:pt x="972550" y="184086"/>
                  </a:lnTo>
                  <a:lnTo>
                    <a:pt x="972550" y="0"/>
                  </a:lnTo>
                  <a:lnTo>
                    <a:pt x="552193" y="0"/>
                  </a:lnTo>
                  <a:cubicBezTo>
                    <a:pt x="247701" y="0"/>
                    <a:pt x="0" y="247716"/>
                    <a:pt x="0" y="552258"/>
                  </a:cubicBezTo>
                  <a:cubicBezTo>
                    <a:pt x="0" y="856800"/>
                    <a:pt x="247701" y="1104012"/>
                    <a:pt x="552193" y="1104012"/>
                  </a:cubicBezTo>
                  <a:lnTo>
                    <a:pt x="1065470" y="1104012"/>
                  </a:lnTo>
                  <a:lnTo>
                    <a:pt x="1065470" y="644112"/>
                  </a:lnTo>
                  <a:lnTo>
                    <a:pt x="1343088" y="644112"/>
                  </a:lnTo>
                  <a:lnTo>
                    <a:pt x="1343088" y="1104012"/>
                  </a:lnTo>
                  <a:lnTo>
                    <a:pt x="2083529" y="1104012"/>
                  </a:lnTo>
                  <a:lnTo>
                    <a:pt x="2176068" y="920052"/>
                  </a:lnTo>
                  <a:lnTo>
                    <a:pt x="1528166" y="920052"/>
                  </a:lnTo>
                  <a:lnTo>
                    <a:pt x="1528166" y="644112"/>
                  </a:lnTo>
                  <a:lnTo>
                    <a:pt x="2498815" y="644112"/>
                  </a:lnTo>
                  <a:lnTo>
                    <a:pt x="2268608" y="1104012"/>
                  </a:lnTo>
                  <a:lnTo>
                    <a:pt x="2474476" y="1104012"/>
                  </a:lnTo>
                  <a:lnTo>
                    <a:pt x="2705824" y="644112"/>
                  </a:lnTo>
                  <a:lnTo>
                    <a:pt x="3101461" y="644112"/>
                  </a:lnTo>
                  <a:lnTo>
                    <a:pt x="3008922" y="46015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0" name="Freihandform 150">
              <a:extLst>
                <a:ext uri="{FF2B5EF4-FFF2-40B4-BE49-F238E27FC236}">
                  <a16:creationId xmlns:a16="http://schemas.microsoft.com/office/drawing/2014/main" id="{C471FC87-338A-4010-A01B-39CFCC799040}"/>
                </a:ext>
              </a:extLst>
            </p:cNvPr>
            <p:cNvSpPr/>
            <p:nvPr/>
          </p:nvSpPr>
          <p:spPr>
            <a:xfrm>
              <a:off x="4360064" y="2880458"/>
              <a:ext cx="833107" cy="368172"/>
            </a:xfrm>
            <a:custGeom>
              <a:avLst/>
              <a:gdLst>
                <a:gd name="connsiteX0" fmla="*/ 185205 w 833107"/>
                <a:gd name="connsiteY0" fmla="*/ 184086 h 368172"/>
                <a:gd name="connsiteX1" fmla="*/ 833107 w 833107"/>
                <a:gd name="connsiteY1" fmla="*/ 184212 h 368172"/>
                <a:gd name="connsiteX2" fmla="*/ 833107 w 833107"/>
                <a:gd name="connsiteY2" fmla="*/ 126 h 368172"/>
                <a:gd name="connsiteX3" fmla="*/ 0 w 833107"/>
                <a:gd name="connsiteY3" fmla="*/ 0 h 368172"/>
                <a:gd name="connsiteX4" fmla="*/ 0 w 833107"/>
                <a:gd name="connsiteY4" fmla="*/ 368172 h 368172"/>
                <a:gd name="connsiteX5" fmla="*/ 185205 w 833107"/>
                <a:gd name="connsiteY5" fmla="*/ 368172 h 36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3107" h="368172">
                  <a:moveTo>
                    <a:pt x="185205" y="184086"/>
                  </a:moveTo>
                  <a:lnTo>
                    <a:pt x="833107" y="184212"/>
                  </a:lnTo>
                  <a:lnTo>
                    <a:pt x="833107" y="126"/>
                  </a:lnTo>
                  <a:lnTo>
                    <a:pt x="0" y="0"/>
                  </a:lnTo>
                  <a:lnTo>
                    <a:pt x="0" y="368172"/>
                  </a:lnTo>
                  <a:lnTo>
                    <a:pt x="185205" y="36817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5" name="Freihandform 152">
              <a:extLst>
                <a:ext uri="{FF2B5EF4-FFF2-40B4-BE49-F238E27FC236}">
                  <a16:creationId xmlns:a16="http://schemas.microsoft.com/office/drawing/2014/main" id="{98D45670-329C-4FE0-BBE8-C5276C544C5B}"/>
                </a:ext>
              </a:extLst>
            </p:cNvPr>
            <p:cNvSpPr/>
            <p:nvPr/>
          </p:nvSpPr>
          <p:spPr>
            <a:xfrm>
              <a:off x="6951799" y="2880711"/>
              <a:ext cx="184951" cy="290429"/>
            </a:xfrm>
            <a:custGeom>
              <a:avLst/>
              <a:gdLst>
                <a:gd name="connsiteX0" fmla="*/ 184952 w 184951"/>
                <a:gd name="connsiteY0" fmla="*/ 252630 h 290429"/>
                <a:gd name="connsiteX1" fmla="*/ 44114 w 184951"/>
                <a:gd name="connsiteY1" fmla="*/ 252630 h 290429"/>
                <a:gd name="connsiteX2" fmla="*/ 44114 w 184951"/>
                <a:gd name="connsiteY2" fmla="*/ 163800 h 290429"/>
                <a:gd name="connsiteX3" fmla="*/ 173669 w 184951"/>
                <a:gd name="connsiteY3" fmla="*/ 163800 h 290429"/>
                <a:gd name="connsiteX4" fmla="*/ 173669 w 184951"/>
                <a:gd name="connsiteY4" fmla="*/ 126252 h 290429"/>
                <a:gd name="connsiteX5" fmla="*/ 44114 w 184951"/>
                <a:gd name="connsiteY5" fmla="*/ 126252 h 290429"/>
                <a:gd name="connsiteX6" fmla="*/ 44114 w 184951"/>
                <a:gd name="connsiteY6" fmla="*/ 37800 h 290429"/>
                <a:gd name="connsiteX7" fmla="*/ 183177 w 184951"/>
                <a:gd name="connsiteY7" fmla="*/ 37800 h 290429"/>
                <a:gd name="connsiteX8" fmla="*/ 183177 w 184951"/>
                <a:gd name="connsiteY8" fmla="*/ 0 h 290429"/>
                <a:gd name="connsiteX9" fmla="*/ 0 w 184951"/>
                <a:gd name="connsiteY9" fmla="*/ 0 h 290429"/>
                <a:gd name="connsiteX10" fmla="*/ 0 w 184951"/>
                <a:gd name="connsiteY10" fmla="*/ 290430 h 290429"/>
                <a:gd name="connsiteX11" fmla="*/ 184952 w 184951"/>
                <a:gd name="connsiteY11" fmla="*/ 290430 h 290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4951" h="290429">
                  <a:moveTo>
                    <a:pt x="184952" y="252630"/>
                  </a:moveTo>
                  <a:lnTo>
                    <a:pt x="44114" y="252630"/>
                  </a:lnTo>
                  <a:lnTo>
                    <a:pt x="44114" y="163800"/>
                  </a:lnTo>
                  <a:lnTo>
                    <a:pt x="173669" y="163800"/>
                  </a:lnTo>
                  <a:lnTo>
                    <a:pt x="173669" y="126252"/>
                  </a:lnTo>
                  <a:lnTo>
                    <a:pt x="44114" y="126252"/>
                  </a:lnTo>
                  <a:lnTo>
                    <a:pt x="44114" y="37800"/>
                  </a:lnTo>
                  <a:lnTo>
                    <a:pt x="183177" y="37800"/>
                  </a:lnTo>
                  <a:lnTo>
                    <a:pt x="183177" y="0"/>
                  </a:lnTo>
                  <a:lnTo>
                    <a:pt x="0" y="0"/>
                  </a:lnTo>
                  <a:lnTo>
                    <a:pt x="0" y="290430"/>
                  </a:lnTo>
                  <a:lnTo>
                    <a:pt x="184952" y="29043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6" name="Freihandform 153">
              <a:extLst>
                <a:ext uri="{FF2B5EF4-FFF2-40B4-BE49-F238E27FC236}">
                  <a16:creationId xmlns:a16="http://schemas.microsoft.com/office/drawing/2014/main" id="{1345E2B1-7126-4AC8-B029-DD6F2C0B21A6}"/>
                </a:ext>
              </a:extLst>
            </p:cNvPr>
            <p:cNvSpPr/>
            <p:nvPr/>
          </p:nvSpPr>
          <p:spPr>
            <a:xfrm>
              <a:off x="7191007" y="2950388"/>
              <a:ext cx="182670" cy="220625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665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4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7" name="Freihandform 154">
              <a:extLst>
                <a:ext uri="{FF2B5EF4-FFF2-40B4-BE49-F238E27FC236}">
                  <a16:creationId xmlns:a16="http://schemas.microsoft.com/office/drawing/2014/main" id="{8538C58C-0D1A-4DA6-A397-057C88D40376}"/>
                </a:ext>
              </a:extLst>
            </p:cNvPr>
            <p:cNvSpPr/>
            <p:nvPr/>
          </p:nvSpPr>
          <p:spPr>
            <a:xfrm>
              <a:off x="7420960" y="2950515"/>
              <a:ext cx="200417" cy="306306"/>
            </a:xfrm>
            <a:custGeom>
              <a:avLst/>
              <a:gdLst>
                <a:gd name="connsiteX0" fmla="*/ 151739 w 200417"/>
                <a:gd name="connsiteY0" fmla="*/ 297738 h 306306"/>
                <a:gd name="connsiteX1" fmla="*/ 187234 w 200417"/>
                <a:gd name="connsiteY1" fmla="*/ 271152 h 306306"/>
                <a:gd name="connsiteX2" fmla="*/ 200417 w 200417"/>
                <a:gd name="connsiteY2" fmla="*/ 225414 h 306306"/>
                <a:gd name="connsiteX3" fmla="*/ 200417 w 200417"/>
                <a:gd name="connsiteY3" fmla="*/ 2772 h 306306"/>
                <a:gd name="connsiteX4" fmla="*/ 158585 w 200417"/>
                <a:gd name="connsiteY4" fmla="*/ 2772 h 306306"/>
                <a:gd name="connsiteX5" fmla="*/ 158585 w 200417"/>
                <a:gd name="connsiteY5" fmla="*/ 38052 h 306306"/>
                <a:gd name="connsiteX6" fmla="*/ 155415 w 200417"/>
                <a:gd name="connsiteY6" fmla="*/ 38052 h 306306"/>
                <a:gd name="connsiteX7" fmla="*/ 144513 w 200417"/>
                <a:gd name="connsiteY7" fmla="*/ 22302 h 306306"/>
                <a:gd name="connsiteX8" fmla="*/ 124865 w 200417"/>
                <a:gd name="connsiteY8" fmla="*/ 6678 h 306306"/>
                <a:gd name="connsiteX9" fmla="*/ 91905 w 200417"/>
                <a:gd name="connsiteY9" fmla="*/ 0 h 306306"/>
                <a:gd name="connsiteX10" fmla="*/ 44622 w 200417"/>
                <a:gd name="connsiteY10" fmla="*/ 13230 h 306306"/>
                <a:gd name="connsiteX11" fmla="*/ 11916 w 200417"/>
                <a:gd name="connsiteY11" fmla="*/ 51282 h 306306"/>
                <a:gd name="connsiteX12" fmla="*/ 0 w 200417"/>
                <a:gd name="connsiteY12" fmla="*/ 110880 h 306306"/>
                <a:gd name="connsiteX13" fmla="*/ 12043 w 200417"/>
                <a:gd name="connsiteY13" fmla="*/ 169344 h 306306"/>
                <a:gd name="connsiteX14" fmla="*/ 44875 w 200417"/>
                <a:gd name="connsiteY14" fmla="*/ 205254 h 306306"/>
                <a:gd name="connsiteX15" fmla="*/ 91525 w 200417"/>
                <a:gd name="connsiteY15" fmla="*/ 217350 h 306306"/>
                <a:gd name="connsiteX16" fmla="*/ 124231 w 200417"/>
                <a:gd name="connsiteY16" fmla="*/ 211050 h 306306"/>
                <a:gd name="connsiteX17" fmla="*/ 144007 w 200417"/>
                <a:gd name="connsiteY17" fmla="*/ 196308 h 306306"/>
                <a:gd name="connsiteX18" fmla="*/ 155035 w 200417"/>
                <a:gd name="connsiteY18" fmla="*/ 180810 h 306306"/>
                <a:gd name="connsiteX19" fmla="*/ 157697 w 200417"/>
                <a:gd name="connsiteY19" fmla="*/ 180810 h 306306"/>
                <a:gd name="connsiteX20" fmla="*/ 157697 w 200417"/>
                <a:gd name="connsiteY20" fmla="*/ 223650 h 306306"/>
                <a:gd name="connsiteX21" fmla="*/ 141851 w 200417"/>
                <a:gd name="connsiteY21" fmla="*/ 260568 h 306306"/>
                <a:gd name="connsiteX22" fmla="*/ 101793 w 200417"/>
                <a:gd name="connsiteY22" fmla="*/ 272160 h 306306"/>
                <a:gd name="connsiteX23" fmla="*/ 72891 w 200417"/>
                <a:gd name="connsiteY23" fmla="*/ 267246 h 306306"/>
                <a:gd name="connsiteX24" fmla="*/ 55270 w 200417"/>
                <a:gd name="connsiteY24" fmla="*/ 255276 h 306306"/>
                <a:gd name="connsiteX25" fmla="*/ 44875 w 200417"/>
                <a:gd name="connsiteY25" fmla="*/ 242424 h 306306"/>
                <a:gd name="connsiteX26" fmla="*/ 8240 w 200417"/>
                <a:gd name="connsiteY26" fmla="*/ 257418 h 306306"/>
                <a:gd name="connsiteX27" fmla="*/ 25860 w 200417"/>
                <a:gd name="connsiteY27" fmla="*/ 281610 h 306306"/>
                <a:gd name="connsiteX28" fmla="*/ 56411 w 200417"/>
                <a:gd name="connsiteY28" fmla="*/ 299502 h 306306"/>
                <a:gd name="connsiteX29" fmla="*/ 101286 w 200417"/>
                <a:gd name="connsiteY29" fmla="*/ 306306 h 306306"/>
                <a:gd name="connsiteX30" fmla="*/ 151739 w 200417"/>
                <a:gd name="connsiteY30" fmla="*/ 297738 h 306306"/>
                <a:gd name="connsiteX31" fmla="*/ 151612 w 200417"/>
                <a:gd name="connsiteY31" fmla="*/ 148932 h 306306"/>
                <a:gd name="connsiteX32" fmla="*/ 132217 w 200417"/>
                <a:gd name="connsiteY32" fmla="*/ 173628 h 306306"/>
                <a:gd name="connsiteX33" fmla="*/ 101033 w 200417"/>
                <a:gd name="connsiteY33" fmla="*/ 182196 h 306306"/>
                <a:gd name="connsiteX34" fmla="*/ 69214 w 200417"/>
                <a:gd name="connsiteY34" fmla="*/ 173124 h 306306"/>
                <a:gd name="connsiteX35" fmla="*/ 49819 w 200417"/>
                <a:gd name="connsiteY35" fmla="*/ 147924 h 306306"/>
                <a:gd name="connsiteX36" fmla="*/ 43227 w 200417"/>
                <a:gd name="connsiteY36" fmla="*/ 110376 h 306306"/>
                <a:gd name="connsiteX37" fmla="*/ 49693 w 200417"/>
                <a:gd name="connsiteY37" fmla="*/ 72702 h 306306"/>
                <a:gd name="connsiteX38" fmla="*/ 68961 w 200417"/>
                <a:gd name="connsiteY38" fmla="*/ 45990 h 306306"/>
                <a:gd name="connsiteX39" fmla="*/ 101033 w 200417"/>
                <a:gd name="connsiteY39" fmla="*/ 36162 h 306306"/>
                <a:gd name="connsiteX40" fmla="*/ 132471 w 200417"/>
                <a:gd name="connsiteY40" fmla="*/ 45612 h 306306"/>
                <a:gd name="connsiteX41" fmla="*/ 151739 w 200417"/>
                <a:gd name="connsiteY41" fmla="*/ 71820 h 306306"/>
                <a:gd name="connsiteX42" fmla="*/ 158331 w 200417"/>
                <a:gd name="connsiteY42" fmla="*/ 110502 h 306306"/>
                <a:gd name="connsiteX43" fmla="*/ 151612 w 200417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417" h="306306">
                  <a:moveTo>
                    <a:pt x="151739" y="297738"/>
                  </a:moveTo>
                  <a:cubicBezTo>
                    <a:pt x="166571" y="291942"/>
                    <a:pt x="178487" y="283122"/>
                    <a:pt x="187234" y="271152"/>
                  </a:cubicBezTo>
                  <a:cubicBezTo>
                    <a:pt x="195980" y="259182"/>
                    <a:pt x="200417" y="243936"/>
                    <a:pt x="200417" y="225414"/>
                  </a:cubicBezTo>
                  <a:lnTo>
                    <a:pt x="200417" y="2772"/>
                  </a:lnTo>
                  <a:lnTo>
                    <a:pt x="158585" y="2772"/>
                  </a:ln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7" y="196308"/>
                  </a:cubicBezTo>
                  <a:cubicBezTo>
                    <a:pt x="148824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3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20048" y="306306"/>
                    <a:pt x="136781" y="303534"/>
                    <a:pt x="151739" y="297738"/>
                  </a:cubicBezTo>
                  <a:close/>
                  <a:moveTo>
                    <a:pt x="151612" y="148932"/>
                  </a:moveTo>
                  <a:cubicBezTo>
                    <a:pt x="147176" y="159642"/>
                    <a:pt x="140711" y="167832"/>
                    <a:pt x="132217" y="173628"/>
                  </a:cubicBezTo>
                  <a:cubicBezTo>
                    <a:pt x="123724" y="179298"/>
                    <a:pt x="113329" y="182196"/>
                    <a:pt x="101033" y="182196"/>
                  </a:cubicBezTo>
                  <a:cubicBezTo>
                    <a:pt x="88356" y="182196"/>
                    <a:pt x="77708" y="179172"/>
                    <a:pt x="69214" y="173124"/>
                  </a:cubicBezTo>
                  <a:cubicBezTo>
                    <a:pt x="60594" y="167076"/>
                    <a:pt x="54129" y="158634"/>
                    <a:pt x="49819" y="147924"/>
                  </a:cubicBezTo>
                  <a:cubicBezTo>
                    <a:pt x="45383" y="137088"/>
                    <a:pt x="43227" y="124614"/>
                    <a:pt x="43227" y="110376"/>
                  </a:cubicBezTo>
                  <a:cubicBezTo>
                    <a:pt x="43227" y="96516"/>
                    <a:pt x="45383" y="83916"/>
                    <a:pt x="49693" y="72702"/>
                  </a:cubicBezTo>
                  <a:cubicBezTo>
                    <a:pt x="54003" y="61488"/>
                    <a:pt x="60468" y="52542"/>
                    <a:pt x="68961" y="45990"/>
                  </a:cubicBezTo>
                  <a:cubicBezTo>
                    <a:pt x="77454" y="39438"/>
                    <a:pt x="88229" y="36162"/>
                    <a:pt x="101033" y="36162"/>
                  </a:cubicBezTo>
                  <a:cubicBezTo>
                    <a:pt x="113456" y="36162"/>
                    <a:pt x="123977" y="39312"/>
                    <a:pt x="132471" y="45612"/>
                  </a:cubicBezTo>
                  <a:cubicBezTo>
                    <a:pt x="140964" y="51912"/>
                    <a:pt x="147302" y="60606"/>
                    <a:pt x="151739" y="71820"/>
                  </a:cubicBezTo>
                  <a:cubicBezTo>
                    <a:pt x="156049" y="83034"/>
                    <a:pt x="158331" y="95886"/>
                    <a:pt x="158331" y="110502"/>
                  </a:cubicBezTo>
                  <a:cubicBezTo>
                    <a:pt x="158204" y="125370"/>
                    <a:pt x="156049" y="138222"/>
                    <a:pt x="151612" y="14893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8" name="Freihandform 155">
              <a:extLst>
                <a:ext uri="{FF2B5EF4-FFF2-40B4-BE49-F238E27FC236}">
                  <a16:creationId xmlns:a16="http://schemas.microsoft.com/office/drawing/2014/main" id="{56E2C3D6-F678-4557-A72E-6ABB5A4298CC}"/>
                </a:ext>
              </a:extLst>
            </p:cNvPr>
            <p:cNvSpPr/>
            <p:nvPr/>
          </p:nvSpPr>
          <p:spPr>
            <a:xfrm>
              <a:off x="7673098" y="2869119"/>
              <a:ext cx="53748" cy="50651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3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057" y="48132"/>
                    <a:pt x="19522" y="50652"/>
                    <a:pt x="26874" y="506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9" name="Freihandform 156">
              <a:extLst>
                <a:ext uri="{FF2B5EF4-FFF2-40B4-BE49-F238E27FC236}">
                  <a16:creationId xmlns:a16="http://schemas.microsoft.com/office/drawing/2014/main" id="{554651DE-15E5-4AD8-8E1B-1EFA8D9DF86D}"/>
                </a:ext>
              </a:extLst>
            </p:cNvPr>
            <p:cNvSpPr/>
            <p:nvPr/>
          </p:nvSpPr>
          <p:spPr>
            <a:xfrm>
              <a:off x="7678422" y="2953287"/>
              <a:ext cx="42720" cy="217728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0" name="Freihandform 157">
              <a:extLst>
                <a:ext uri="{FF2B5EF4-FFF2-40B4-BE49-F238E27FC236}">
                  <a16:creationId xmlns:a16="http://schemas.microsoft.com/office/drawing/2014/main" id="{760EB6CE-44D7-4F96-B7BA-F5F919E266C2}"/>
                </a:ext>
              </a:extLst>
            </p:cNvPr>
            <p:cNvSpPr/>
            <p:nvPr/>
          </p:nvSpPr>
          <p:spPr>
            <a:xfrm>
              <a:off x="7778821" y="2950388"/>
              <a:ext cx="182670" cy="220625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792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5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1" name="Freihandform 158">
              <a:extLst>
                <a:ext uri="{FF2B5EF4-FFF2-40B4-BE49-F238E27FC236}">
                  <a16:creationId xmlns:a16="http://schemas.microsoft.com/office/drawing/2014/main" id="{B4174193-0108-4B73-BAFC-61C16F9E450F}"/>
                </a:ext>
              </a:extLst>
            </p:cNvPr>
            <p:cNvSpPr/>
            <p:nvPr/>
          </p:nvSpPr>
          <p:spPr>
            <a:xfrm>
              <a:off x="8008648" y="2950767"/>
              <a:ext cx="198262" cy="224783"/>
            </a:xfrm>
            <a:custGeom>
              <a:avLst/>
              <a:gdLst>
                <a:gd name="connsiteX0" fmla="*/ 48424 w 198262"/>
                <a:gd name="connsiteY0" fmla="*/ 210924 h 224783"/>
                <a:gd name="connsiteX1" fmla="*/ 104202 w 198262"/>
                <a:gd name="connsiteY1" fmla="*/ 224784 h 224783"/>
                <a:gd name="connsiteX2" fmla="*/ 146922 w 198262"/>
                <a:gd name="connsiteY2" fmla="*/ 217476 h 224783"/>
                <a:gd name="connsiteX3" fmla="*/ 178106 w 198262"/>
                <a:gd name="connsiteY3" fmla="*/ 196938 h 224783"/>
                <a:gd name="connsiteX4" fmla="*/ 195473 w 198262"/>
                <a:gd name="connsiteY4" fmla="*/ 165942 h 224783"/>
                <a:gd name="connsiteX5" fmla="*/ 155162 w 198262"/>
                <a:gd name="connsiteY5" fmla="*/ 158760 h 224783"/>
                <a:gd name="connsiteX6" fmla="*/ 144006 w 198262"/>
                <a:gd name="connsiteY6" fmla="*/ 175896 h 224783"/>
                <a:gd name="connsiteX7" fmla="*/ 126766 w 198262"/>
                <a:gd name="connsiteY7" fmla="*/ 186354 h 224783"/>
                <a:gd name="connsiteX8" fmla="*/ 104709 w 198262"/>
                <a:gd name="connsiteY8" fmla="*/ 189882 h 224783"/>
                <a:gd name="connsiteX9" fmla="*/ 72003 w 198262"/>
                <a:gd name="connsiteY9" fmla="*/ 181818 h 224783"/>
                <a:gd name="connsiteX10" fmla="*/ 50326 w 198262"/>
                <a:gd name="connsiteY10" fmla="*/ 158508 h 224783"/>
                <a:gd name="connsiteX11" fmla="*/ 42847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424 w 198262"/>
                <a:gd name="connsiteY22" fmla="*/ 210924 h 224783"/>
                <a:gd name="connsiteX23" fmla="*/ 49566 w 198262"/>
                <a:gd name="connsiteY23" fmla="*/ 66150 h 224783"/>
                <a:gd name="connsiteX24" fmla="*/ 70102 w 198262"/>
                <a:gd name="connsiteY24" fmla="*/ 43470 h 224783"/>
                <a:gd name="connsiteX25" fmla="*/ 101413 w 198262"/>
                <a:gd name="connsiteY25" fmla="*/ 34776 h 224783"/>
                <a:gd name="connsiteX26" fmla="*/ 130316 w 198262"/>
                <a:gd name="connsiteY26" fmla="*/ 42336 h 224783"/>
                <a:gd name="connsiteX27" fmla="*/ 149457 w 198262"/>
                <a:gd name="connsiteY27" fmla="*/ 62874 h 224783"/>
                <a:gd name="connsiteX28" fmla="*/ 156303 w 198262"/>
                <a:gd name="connsiteY28" fmla="*/ 92610 h 224783"/>
                <a:gd name="connsiteX29" fmla="*/ 42847 w 198262"/>
                <a:gd name="connsiteY29" fmla="*/ 92610 h 224783"/>
                <a:gd name="connsiteX30" fmla="*/ 49566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424" y="210924"/>
                  </a:moveTo>
                  <a:cubicBezTo>
                    <a:pt x="64017" y="220122"/>
                    <a:pt x="82525" y="224784"/>
                    <a:pt x="104202" y="224784"/>
                  </a:cubicBezTo>
                  <a:cubicBezTo>
                    <a:pt x="120174" y="224784"/>
                    <a:pt x="134372" y="222390"/>
                    <a:pt x="146922" y="217476"/>
                  </a:cubicBezTo>
                  <a:cubicBezTo>
                    <a:pt x="159472" y="212562"/>
                    <a:pt x="169867" y="205758"/>
                    <a:pt x="178106" y="196938"/>
                  </a:cubicBezTo>
                  <a:cubicBezTo>
                    <a:pt x="186473" y="188118"/>
                    <a:pt x="192178" y="177786"/>
                    <a:pt x="195473" y="165942"/>
                  </a:cubicBezTo>
                  <a:lnTo>
                    <a:pt x="155162" y="158760"/>
                  </a:lnTo>
                  <a:cubicBezTo>
                    <a:pt x="152626" y="165564"/>
                    <a:pt x="148823" y="171234"/>
                    <a:pt x="144006" y="175896"/>
                  </a:cubicBezTo>
                  <a:cubicBezTo>
                    <a:pt x="139189" y="180558"/>
                    <a:pt x="133358" y="183960"/>
                    <a:pt x="126766" y="186354"/>
                  </a:cubicBezTo>
                  <a:cubicBezTo>
                    <a:pt x="120048" y="188622"/>
                    <a:pt x="112695" y="189882"/>
                    <a:pt x="104709" y="189882"/>
                  </a:cubicBezTo>
                  <a:cubicBezTo>
                    <a:pt x="92286" y="189882"/>
                    <a:pt x="81384" y="187236"/>
                    <a:pt x="72003" y="181818"/>
                  </a:cubicBezTo>
                  <a:cubicBezTo>
                    <a:pt x="62749" y="176526"/>
                    <a:pt x="55397" y="168714"/>
                    <a:pt x="50326" y="158508"/>
                  </a:cubicBezTo>
                  <a:cubicBezTo>
                    <a:pt x="45509" y="149058"/>
                    <a:pt x="43227" y="137592"/>
                    <a:pt x="42847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0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0916" y="188748"/>
                    <a:pt x="32959" y="201726"/>
                    <a:pt x="48424" y="210924"/>
                  </a:cubicBezTo>
                  <a:close/>
                  <a:moveTo>
                    <a:pt x="49566" y="66150"/>
                  </a:moveTo>
                  <a:cubicBezTo>
                    <a:pt x="54382" y="56826"/>
                    <a:pt x="61228" y="49266"/>
                    <a:pt x="70102" y="43470"/>
                  </a:cubicBezTo>
                  <a:cubicBezTo>
                    <a:pt x="78975" y="37674"/>
                    <a:pt x="89370" y="34776"/>
                    <a:pt x="101413" y="34776"/>
                  </a:cubicBezTo>
                  <a:cubicBezTo>
                    <a:pt x="112442" y="34776"/>
                    <a:pt x="122076" y="37296"/>
                    <a:pt x="130316" y="42336"/>
                  </a:cubicBezTo>
                  <a:cubicBezTo>
                    <a:pt x="138555" y="47376"/>
                    <a:pt x="144894" y="54180"/>
                    <a:pt x="149457" y="62874"/>
                  </a:cubicBezTo>
                  <a:cubicBezTo>
                    <a:pt x="154021" y="71568"/>
                    <a:pt x="156303" y="81396"/>
                    <a:pt x="156303" y="92610"/>
                  </a:cubicBezTo>
                  <a:lnTo>
                    <a:pt x="42847" y="92610"/>
                  </a:lnTo>
                  <a:cubicBezTo>
                    <a:pt x="43354" y="83160"/>
                    <a:pt x="45382" y="74340"/>
                    <a:pt x="49566" y="6615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2" name="Freihandform 159">
              <a:extLst>
                <a:ext uri="{FF2B5EF4-FFF2-40B4-BE49-F238E27FC236}">
                  <a16:creationId xmlns:a16="http://schemas.microsoft.com/office/drawing/2014/main" id="{E8F529A8-7A94-477E-B9A0-D23388625A03}"/>
                </a:ext>
              </a:extLst>
            </p:cNvPr>
            <p:cNvSpPr/>
            <p:nvPr/>
          </p:nvSpPr>
          <p:spPr>
            <a:xfrm>
              <a:off x="8244433" y="2950767"/>
              <a:ext cx="198262" cy="224783"/>
            </a:xfrm>
            <a:custGeom>
              <a:avLst/>
              <a:gdLst>
                <a:gd name="connsiteX0" fmla="*/ 48552 w 198262"/>
                <a:gd name="connsiteY0" fmla="*/ 210924 h 224783"/>
                <a:gd name="connsiteX1" fmla="*/ 104329 w 198262"/>
                <a:gd name="connsiteY1" fmla="*/ 224784 h 224783"/>
                <a:gd name="connsiteX2" fmla="*/ 147049 w 198262"/>
                <a:gd name="connsiteY2" fmla="*/ 217476 h 224783"/>
                <a:gd name="connsiteX3" fmla="*/ 178234 w 198262"/>
                <a:gd name="connsiteY3" fmla="*/ 196938 h 224783"/>
                <a:gd name="connsiteX4" fmla="*/ 195601 w 198262"/>
                <a:gd name="connsiteY4" fmla="*/ 165942 h 224783"/>
                <a:gd name="connsiteX5" fmla="*/ 155289 w 198262"/>
                <a:gd name="connsiteY5" fmla="*/ 158760 h 224783"/>
                <a:gd name="connsiteX6" fmla="*/ 144133 w 198262"/>
                <a:gd name="connsiteY6" fmla="*/ 175896 h 224783"/>
                <a:gd name="connsiteX7" fmla="*/ 126893 w 198262"/>
                <a:gd name="connsiteY7" fmla="*/ 186354 h 224783"/>
                <a:gd name="connsiteX8" fmla="*/ 104836 w 198262"/>
                <a:gd name="connsiteY8" fmla="*/ 189882 h 224783"/>
                <a:gd name="connsiteX9" fmla="*/ 72130 w 198262"/>
                <a:gd name="connsiteY9" fmla="*/ 181818 h 224783"/>
                <a:gd name="connsiteX10" fmla="*/ 50453 w 198262"/>
                <a:gd name="connsiteY10" fmla="*/ 158508 h 224783"/>
                <a:gd name="connsiteX11" fmla="*/ 42974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552 w 198262"/>
                <a:gd name="connsiteY22" fmla="*/ 210924 h 224783"/>
                <a:gd name="connsiteX23" fmla="*/ 49693 w 198262"/>
                <a:gd name="connsiteY23" fmla="*/ 66150 h 224783"/>
                <a:gd name="connsiteX24" fmla="*/ 70229 w 198262"/>
                <a:gd name="connsiteY24" fmla="*/ 43470 h 224783"/>
                <a:gd name="connsiteX25" fmla="*/ 101540 w 198262"/>
                <a:gd name="connsiteY25" fmla="*/ 34776 h 224783"/>
                <a:gd name="connsiteX26" fmla="*/ 130443 w 198262"/>
                <a:gd name="connsiteY26" fmla="*/ 42336 h 224783"/>
                <a:gd name="connsiteX27" fmla="*/ 149584 w 198262"/>
                <a:gd name="connsiteY27" fmla="*/ 62874 h 224783"/>
                <a:gd name="connsiteX28" fmla="*/ 156430 w 198262"/>
                <a:gd name="connsiteY28" fmla="*/ 92610 h 224783"/>
                <a:gd name="connsiteX29" fmla="*/ 42974 w 198262"/>
                <a:gd name="connsiteY29" fmla="*/ 92610 h 224783"/>
                <a:gd name="connsiteX30" fmla="*/ 49693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552" y="210924"/>
                  </a:moveTo>
                  <a:cubicBezTo>
                    <a:pt x="64144" y="220122"/>
                    <a:pt x="82652" y="224784"/>
                    <a:pt x="104329" y="224784"/>
                  </a:cubicBezTo>
                  <a:cubicBezTo>
                    <a:pt x="120301" y="224784"/>
                    <a:pt x="134499" y="222390"/>
                    <a:pt x="147049" y="217476"/>
                  </a:cubicBezTo>
                  <a:cubicBezTo>
                    <a:pt x="159599" y="212562"/>
                    <a:pt x="169993" y="205758"/>
                    <a:pt x="178234" y="196938"/>
                  </a:cubicBezTo>
                  <a:cubicBezTo>
                    <a:pt x="186600" y="188118"/>
                    <a:pt x="192304" y="177786"/>
                    <a:pt x="195601" y="165942"/>
                  </a:cubicBezTo>
                  <a:lnTo>
                    <a:pt x="155289" y="158760"/>
                  </a:lnTo>
                  <a:cubicBezTo>
                    <a:pt x="152753" y="165564"/>
                    <a:pt x="148950" y="171234"/>
                    <a:pt x="144133" y="175896"/>
                  </a:cubicBezTo>
                  <a:cubicBezTo>
                    <a:pt x="139316" y="180558"/>
                    <a:pt x="133485" y="183960"/>
                    <a:pt x="126893" y="186354"/>
                  </a:cubicBezTo>
                  <a:cubicBezTo>
                    <a:pt x="120174" y="188622"/>
                    <a:pt x="112822" y="189882"/>
                    <a:pt x="104836" y="189882"/>
                  </a:cubicBezTo>
                  <a:cubicBezTo>
                    <a:pt x="92413" y="189882"/>
                    <a:pt x="81511" y="187236"/>
                    <a:pt x="72130" y="181818"/>
                  </a:cubicBezTo>
                  <a:cubicBezTo>
                    <a:pt x="62876" y="176526"/>
                    <a:pt x="55524" y="168714"/>
                    <a:pt x="50453" y="158508"/>
                  </a:cubicBezTo>
                  <a:cubicBezTo>
                    <a:pt x="45636" y="149058"/>
                    <a:pt x="43354" y="137592"/>
                    <a:pt x="42974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1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8748"/>
                    <a:pt x="33086" y="201726"/>
                    <a:pt x="48552" y="210924"/>
                  </a:cubicBezTo>
                  <a:close/>
                  <a:moveTo>
                    <a:pt x="49693" y="66150"/>
                  </a:moveTo>
                  <a:cubicBezTo>
                    <a:pt x="54510" y="56826"/>
                    <a:pt x="61355" y="49266"/>
                    <a:pt x="70229" y="43470"/>
                  </a:cubicBezTo>
                  <a:cubicBezTo>
                    <a:pt x="79102" y="37674"/>
                    <a:pt x="89497" y="34776"/>
                    <a:pt x="101540" y="34776"/>
                  </a:cubicBezTo>
                  <a:cubicBezTo>
                    <a:pt x="112568" y="34776"/>
                    <a:pt x="122203" y="37296"/>
                    <a:pt x="130443" y="42336"/>
                  </a:cubicBezTo>
                  <a:cubicBezTo>
                    <a:pt x="138682" y="47376"/>
                    <a:pt x="145021" y="54180"/>
                    <a:pt x="149584" y="62874"/>
                  </a:cubicBezTo>
                  <a:cubicBezTo>
                    <a:pt x="154148" y="71568"/>
                    <a:pt x="156430" y="81396"/>
                    <a:pt x="156430" y="92610"/>
                  </a:cubicBezTo>
                  <a:lnTo>
                    <a:pt x="42974" y="92610"/>
                  </a:lnTo>
                  <a:cubicBezTo>
                    <a:pt x="43481" y="83160"/>
                    <a:pt x="45509" y="74340"/>
                    <a:pt x="49693" y="6615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3" name="Freihandform 160">
              <a:extLst>
                <a:ext uri="{FF2B5EF4-FFF2-40B4-BE49-F238E27FC236}">
                  <a16:creationId xmlns:a16="http://schemas.microsoft.com/office/drawing/2014/main" id="{37DEB0C4-0DEB-4FA9-814C-297B72F4A45F}"/>
                </a:ext>
              </a:extLst>
            </p:cNvPr>
            <p:cNvSpPr/>
            <p:nvPr/>
          </p:nvSpPr>
          <p:spPr>
            <a:xfrm>
              <a:off x="8490233" y="2950011"/>
              <a:ext cx="117258" cy="221003"/>
            </a:xfrm>
            <a:custGeom>
              <a:avLst/>
              <a:gdLst>
                <a:gd name="connsiteX0" fmla="*/ 42720 w 117258"/>
                <a:gd name="connsiteY0" fmla="*/ 88074 h 221003"/>
                <a:gd name="connsiteX1" fmla="*/ 49566 w 117258"/>
                <a:gd name="connsiteY1" fmla="*/ 62748 h 221003"/>
                <a:gd name="connsiteX2" fmla="*/ 68200 w 117258"/>
                <a:gd name="connsiteY2" fmla="*/ 45360 h 221003"/>
                <a:gd name="connsiteX3" fmla="*/ 95075 w 117258"/>
                <a:gd name="connsiteY3" fmla="*/ 39060 h 221003"/>
                <a:gd name="connsiteX4" fmla="*/ 108132 w 117258"/>
                <a:gd name="connsiteY4" fmla="*/ 39942 h 221003"/>
                <a:gd name="connsiteX5" fmla="*/ 117259 w 117258"/>
                <a:gd name="connsiteY5" fmla="*/ 41580 h 221003"/>
                <a:gd name="connsiteX6" fmla="*/ 117259 w 117258"/>
                <a:gd name="connsiteY6" fmla="*/ 1008 h 221003"/>
                <a:gd name="connsiteX7" fmla="*/ 108639 w 117258"/>
                <a:gd name="connsiteY7" fmla="*/ 252 h 221003"/>
                <a:gd name="connsiteX8" fmla="*/ 99131 w 117258"/>
                <a:gd name="connsiteY8" fmla="*/ 0 h 221003"/>
                <a:gd name="connsiteX9" fmla="*/ 64651 w 117258"/>
                <a:gd name="connsiteY9" fmla="*/ 10080 h 221003"/>
                <a:gd name="connsiteX10" fmla="*/ 43481 w 117258"/>
                <a:gd name="connsiteY10" fmla="*/ 37800 h 221003"/>
                <a:gd name="connsiteX11" fmla="*/ 41199 w 117258"/>
                <a:gd name="connsiteY11" fmla="*/ 37800 h 221003"/>
                <a:gd name="connsiteX12" fmla="*/ 41199 w 117258"/>
                <a:gd name="connsiteY12" fmla="*/ 3276 h 221003"/>
                <a:gd name="connsiteX13" fmla="*/ 0 w 117258"/>
                <a:gd name="connsiteY13" fmla="*/ 3276 h 221003"/>
                <a:gd name="connsiteX14" fmla="*/ 0 w 117258"/>
                <a:gd name="connsiteY14" fmla="*/ 221004 h 221003"/>
                <a:gd name="connsiteX15" fmla="*/ 42720 w 117258"/>
                <a:gd name="connsiteY15" fmla="*/ 221004 h 221003"/>
                <a:gd name="connsiteX16" fmla="*/ 42720 w 117258"/>
                <a:gd name="connsiteY16" fmla="*/ 88074 h 22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3">
                  <a:moveTo>
                    <a:pt x="42720" y="88074"/>
                  </a:move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4" name="Freihandform 161">
              <a:extLst>
                <a:ext uri="{FF2B5EF4-FFF2-40B4-BE49-F238E27FC236}">
                  <a16:creationId xmlns:a16="http://schemas.microsoft.com/office/drawing/2014/main" id="{E3BA12B5-1681-4B1D-9850-AF697DA22768}"/>
                </a:ext>
              </a:extLst>
            </p:cNvPr>
            <p:cNvSpPr/>
            <p:nvPr/>
          </p:nvSpPr>
          <p:spPr>
            <a:xfrm>
              <a:off x="8644507" y="2953287"/>
              <a:ext cx="42720" cy="217728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5" name="Freihandform 162">
              <a:extLst>
                <a:ext uri="{FF2B5EF4-FFF2-40B4-BE49-F238E27FC236}">
                  <a16:creationId xmlns:a16="http://schemas.microsoft.com/office/drawing/2014/main" id="{6536A9F0-A332-4FB0-AD9A-F8B9C214A3F2}"/>
                </a:ext>
              </a:extLst>
            </p:cNvPr>
            <p:cNvSpPr/>
            <p:nvPr/>
          </p:nvSpPr>
          <p:spPr>
            <a:xfrm>
              <a:off x="8639183" y="2869119"/>
              <a:ext cx="53748" cy="50651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4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184" y="48132"/>
                    <a:pt x="19522" y="50652"/>
                    <a:pt x="26874" y="506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6" name="Freihandform 163">
              <a:extLst>
                <a:ext uri="{FF2B5EF4-FFF2-40B4-BE49-F238E27FC236}">
                  <a16:creationId xmlns:a16="http://schemas.microsoft.com/office/drawing/2014/main" id="{6E7DCB97-14CF-407F-9898-7C35F8166552}"/>
                </a:ext>
              </a:extLst>
            </p:cNvPr>
            <p:cNvSpPr/>
            <p:nvPr/>
          </p:nvSpPr>
          <p:spPr>
            <a:xfrm>
              <a:off x="8744779" y="2950388"/>
              <a:ext cx="182670" cy="220751"/>
            </a:xfrm>
            <a:custGeom>
              <a:avLst/>
              <a:gdLst>
                <a:gd name="connsiteX0" fmla="*/ 182670 w 182670"/>
                <a:gd name="connsiteY0" fmla="*/ 220752 h 220751"/>
                <a:gd name="connsiteX1" fmla="*/ 182670 w 182670"/>
                <a:gd name="connsiteY1" fmla="*/ 82152 h 220751"/>
                <a:gd name="connsiteX2" fmla="*/ 173416 w 182670"/>
                <a:gd name="connsiteY2" fmla="*/ 36918 h 220751"/>
                <a:gd name="connsiteX3" fmla="*/ 147303 w 182670"/>
                <a:gd name="connsiteY3" fmla="*/ 9324 h 220751"/>
                <a:gd name="connsiteX4" fmla="*/ 108132 w 182670"/>
                <a:gd name="connsiteY4" fmla="*/ 0 h 220751"/>
                <a:gd name="connsiteX5" fmla="*/ 67313 w 182670"/>
                <a:gd name="connsiteY5" fmla="*/ 10458 h 220751"/>
                <a:gd name="connsiteX6" fmla="*/ 43608 w 182670"/>
                <a:gd name="connsiteY6" fmla="*/ 38304 h 220751"/>
                <a:gd name="connsiteX7" fmla="*/ 40946 w 182670"/>
                <a:gd name="connsiteY7" fmla="*/ 38304 h 220751"/>
                <a:gd name="connsiteX8" fmla="*/ 40946 w 182670"/>
                <a:gd name="connsiteY8" fmla="*/ 2898 h 220751"/>
                <a:gd name="connsiteX9" fmla="*/ 0 w 182670"/>
                <a:gd name="connsiteY9" fmla="*/ 2898 h 220751"/>
                <a:gd name="connsiteX10" fmla="*/ 0 w 182670"/>
                <a:gd name="connsiteY10" fmla="*/ 220626 h 220751"/>
                <a:gd name="connsiteX11" fmla="*/ 42721 w 182670"/>
                <a:gd name="connsiteY11" fmla="*/ 220626 h 220751"/>
                <a:gd name="connsiteX12" fmla="*/ 42721 w 182670"/>
                <a:gd name="connsiteY12" fmla="*/ 91350 h 220751"/>
                <a:gd name="connsiteX13" fmla="*/ 49312 w 182670"/>
                <a:gd name="connsiteY13" fmla="*/ 61740 h 220751"/>
                <a:gd name="connsiteX14" fmla="*/ 67440 w 182670"/>
                <a:gd name="connsiteY14" fmla="*/ 43092 h 220751"/>
                <a:gd name="connsiteX15" fmla="*/ 93807 w 182670"/>
                <a:gd name="connsiteY15" fmla="*/ 36666 h 220751"/>
                <a:gd name="connsiteX16" fmla="*/ 127907 w 182670"/>
                <a:gd name="connsiteY16" fmla="*/ 50022 h 220751"/>
                <a:gd name="connsiteX17" fmla="*/ 140330 w 182670"/>
                <a:gd name="connsiteY17" fmla="*/ 87066 h 220751"/>
                <a:gd name="connsiteX18" fmla="*/ 140330 w 182670"/>
                <a:gd name="connsiteY18" fmla="*/ 220500 h 220751"/>
                <a:gd name="connsiteX19" fmla="*/ 182670 w 182670"/>
                <a:gd name="connsiteY19" fmla="*/ 220500 h 220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751">
                  <a:moveTo>
                    <a:pt x="182670" y="220752"/>
                  </a:moveTo>
                  <a:lnTo>
                    <a:pt x="182670" y="82152"/>
                  </a:lnTo>
                  <a:cubicBezTo>
                    <a:pt x="182670" y="64260"/>
                    <a:pt x="179628" y="49140"/>
                    <a:pt x="173416" y="36918"/>
                  </a:cubicBezTo>
                  <a:cubicBezTo>
                    <a:pt x="167205" y="24696"/>
                    <a:pt x="158585" y="15498"/>
                    <a:pt x="147303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2" y="26712"/>
                    <a:pt x="43608" y="38304"/>
                  </a:cubicBezTo>
                  <a:lnTo>
                    <a:pt x="40946" y="38304"/>
                  </a:lnTo>
                  <a:lnTo>
                    <a:pt x="40946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1" y="220626"/>
                  </a:lnTo>
                  <a:lnTo>
                    <a:pt x="42721" y="91350"/>
                  </a:lnTo>
                  <a:cubicBezTo>
                    <a:pt x="42721" y="79884"/>
                    <a:pt x="44875" y="69930"/>
                    <a:pt x="49312" y="61740"/>
                  </a:cubicBezTo>
                  <a:cubicBezTo>
                    <a:pt x="53749" y="53550"/>
                    <a:pt x="59707" y="47376"/>
                    <a:pt x="67440" y="43092"/>
                  </a:cubicBezTo>
                  <a:cubicBezTo>
                    <a:pt x="75173" y="38808"/>
                    <a:pt x="83920" y="36666"/>
                    <a:pt x="93807" y="36666"/>
                  </a:cubicBezTo>
                  <a:cubicBezTo>
                    <a:pt x="108258" y="36666"/>
                    <a:pt x="119667" y="41076"/>
                    <a:pt x="127907" y="50022"/>
                  </a:cubicBezTo>
                  <a:cubicBezTo>
                    <a:pt x="136147" y="58968"/>
                    <a:pt x="140330" y="71316"/>
                    <a:pt x="140330" y="87066"/>
                  </a:cubicBezTo>
                  <a:lnTo>
                    <a:pt x="140330" y="220500"/>
                  </a:lnTo>
                  <a:lnTo>
                    <a:pt x="182670" y="22050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7" name="Freihandform 164">
              <a:extLst>
                <a:ext uri="{FF2B5EF4-FFF2-40B4-BE49-F238E27FC236}">
                  <a16:creationId xmlns:a16="http://schemas.microsoft.com/office/drawing/2014/main" id="{4FABCAA5-925D-413F-9B91-393E926D8937}"/>
                </a:ext>
              </a:extLst>
            </p:cNvPr>
            <p:cNvSpPr/>
            <p:nvPr/>
          </p:nvSpPr>
          <p:spPr>
            <a:xfrm>
              <a:off x="8974733" y="2950515"/>
              <a:ext cx="200163" cy="306306"/>
            </a:xfrm>
            <a:custGeom>
              <a:avLst/>
              <a:gdLst>
                <a:gd name="connsiteX0" fmla="*/ 158585 w 200163"/>
                <a:gd name="connsiteY0" fmla="*/ 2772 h 306306"/>
                <a:gd name="connsiteX1" fmla="*/ 158585 w 200163"/>
                <a:gd name="connsiteY1" fmla="*/ 38052 h 306306"/>
                <a:gd name="connsiteX2" fmla="*/ 155415 w 200163"/>
                <a:gd name="connsiteY2" fmla="*/ 38052 h 306306"/>
                <a:gd name="connsiteX3" fmla="*/ 144513 w 200163"/>
                <a:gd name="connsiteY3" fmla="*/ 22302 h 306306"/>
                <a:gd name="connsiteX4" fmla="*/ 124865 w 200163"/>
                <a:gd name="connsiteY4" fmla="*/ 6678 h 306306"/>
                <a:gd name="connsiteX5" fmla="*/ 91905 w 200163"/>
                <a:gd name="connsiteY5" fmla="*/ 0 h 306306"/>
                <a:gd name="connsiteX6" fmla="*/ 44622 w 200163"/>
                <a:gd name="connsiteY6" fmla="*/ 13230 h 306306"/>
                <a:gd name="connsiteX7" fmla="*/ 11916 w 200163"/>
                <a:gd name="connsiteY7" fmla="*/ 51282 h 306306"/>
                <a:gd name="connsiteX8" fmla="*/ 0 w 200163"/>
                <a:gd name="connsiteY8" fmla="*/ 110880 h 306306"/>
                <a:gd name="connsiteX9" fmla="*/ 12043 w 200163"/>
                <a:gd name="connsiteY9" fmla="*/ 169344 h 306306"/>
                <a:gd name="connsiteX10" fmla="*/ 44875 w 200163"/>
                <a:gd name="connsiteY10" fmla="*/ 205254 h 306306"/>
                <a:gd name="connsiteX11" fmla="*/ 91525 w 200163"/>
                <a:gd name="connsiteY11" fmla="*/ 217350 h 306306"/>
                <a:gd name="connsiteX12" fmla="*/ 124231 w 200163"/>
                <a:gd name="connsiteY12" fmla="*/ 211050 h 306306"/>
                <a:gd name="connsiteX13" fmla="*/ 144006 w 200163"/>
                <a:gd name="connsiteY13" fmla="*/ 196308 h 306306"/>
                <a:gd name="connsiteX14" fmla="*/ 155035 w 200163"/>
                <a:gd name="connsiteY14" fmla="*/ 180810 h 306306"/>
                <a:gd name="connsiteX15" fmla="*/ 157697 w 200163"/>
                <a:gd name="connsiteY15" fmla="*/ 180810 h 306306"/>
                <a:gd name="connsiteX16" fmla="*/ 157697 w 200163"/>
                <a:gd name="connsiteY16" fmla="*/ 223650 h 306306"/>
                <a:gd name="connsiteX17" fmla="*/ 141851 w 200163"/>
                <a:gd name="connsiteY17" fmla="*/ 260568 h 306306"/>
                <a:gd name="connsiteX18" fmla="*/ 101793 w 200163"/>
                <a:gd name="connsiteY18" fmla="*/ 272160 h 306306"/>
                <a:gd name="connsiteX19" fmla="*/ 72891 w 200163"/>
                <a:gd name="connsiteY19" fmla="*/ 267246 h 306306"/>
                <a:gd name="connsiteX20" fmla="*/ 55270 w 200163"/>
                <a:gd name="connsiteY20" fmla="*/ 255276 h 306306"/>
                <a:gd name="connsiteX21" fmla="*/ 44875 w 200163"/>
                <a:gd name="connsiteY21" fmla="*/ 242424 h 306306"/>
                <a:gd name="connsiteX22" fmla="*/ 8240 w 200163"/>
                <a:gd name="connsiteY22" fmla="*/ 257418 h 306306"/>
                <a:gd name="connsiteX23" fmla="*/ 25860 w 200163"/>
                <a:gd name="connsiteY23" fmla="*/ 281610 h 306306"/>
                <a:gd name="connsiteX24" fmla="*/ 56411 w 200163"/>
                <a:gd name="connsiteY24" fmla="*/ 299502 h 306306"/>
                <a:gd name="connsiteX25" fmla="*/ 101286 w 200163"/>
                <a:gd name="connsiteY25" fmla="*/ 306306 h 306306"/>
                <a:gd name="connsiteX26" fmla="*/ 151486 w 200163"/>
                <a:gd name="connsiteY26" fmla="*/ 297612 h 306306"/>
                <a:gd name="connsiteX27" fmla="*/ 186980 w 200163"/>
                <a:gd name="connsiteY27" fmla="*/ 271026 h 306306"/>
                <a:gd name="connsiteX28" fmla="*/ 200164 w 200163"/>
                <a:gd name="connsiteY28" fmla="*/ 225288 h 306306"/>
                <a:gd name="connsiteX29" fmla="*/ 200164 w 200163"/>
                <a:gd name="connsiteY29" fmla="*/ 2772 h 306306"/>
                <a:gd name="connsiteX30" fmla="*/ 158585 w 200163"/>
                <a:gd name="connsiteY30" fmla="*/ 2772 h 306306"/>
                <a:gd name="connsiteX31" fmla="*/ 151739 w 200163"/>
                <a:gd name="connsiteY31" fmla="*/ 148932 h 306306"/>
                <a:gd name="connsiteX32" fmla="*/ 132344 w 200163"/>
                <a:gd name="connsiteY32" fmla="*/ 173628 h 306306"/>
                <a:gd name="connsiteX33" fmla="*/ 101160 w 200163"/>
                <a:gd name="connsiteY33" fmla="*/ 182196 h 306306"/>
                <a:gd name="connsiteX34" fmla="*/ 69341 w 200163"/>
                <a:gd name="connsiteY34" fmla="*/ 173124 h 306306"/>
                <a:gd name="connsiteX35" fmla="*/ 49946 w 200163"/>
                <a:gd name="connsiteY35" fmla="*/ 147924 h 306306"/>
                <a:gd name="connsiteX36" fmla="*/ 43354 w 200163"/>
                <a:gd name="connsiteY36" fmla="*/ 110376 h 306306"/>
                <a:gd name="connsiteX37" fmla="*/ 49819 w 200163"/>
                <a:gd name="connsiteY37" fmla="*/ 72702 h 306306"/>
                <a:gd name="connsiteX38" fmla="*/ 69088 w 200163"/>
                <a:gd name="connsiteY38" fmla="*/ 45990 h 306306"/>
                <a:gd name="connsiteX39" fmla="*/ 101160 w 200163"/>
                <a:gd name="connsiteY39" fmla="*/ 36162 h 306306"/>
                <a:gd name="connsiteX40" fmla="*/ 132597 w 200163"/>
                <a:gd name="connsiteY40" fmla="*/ 45612 h 306306"/>
                <a:gd name="connsiteX41" fmla="*/ 151866 w 200163"/>
                <a:gd name="connsiteY41" fmla="*/ 71820 h 306306"/>
                <a:gd name="connsiteX42" fmla="*/ 158458 w 200163"/>
                <a:gd name="connsiteY42" fmla="*/ 110502 h 306306"/>
                <a:gd name="connsiteX43" fmla="*/ 151739 w 200163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163" h="306306">
                  <a:moveTo>
                    <a:pt x="158585" y="2772"/>
                  </a:move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6" y="196308"/>
                  </a:cubicBezTo>
                  <a:cubicBezTo>
                    <a:pt x="148823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2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19921" y="306306"/>
                    <a:pt x="136654" y="303408"/>
                    <a:pt x="151486" y="297612"/>
                  </a:cubicBezTo>
                  <a:cubicBezTo>
                    <a:pt x="166317" y="291816"/>
                    <a:pt x="178233" y="282996"/>
                    <a:pt x="186980" y="271026"/>
                  </a:cubicBezTo>
                  <a:cubicBezTo>
                    <a:pt x="195727" y="259056"/>
                    <a:pt x="200164" y="243810"/>
                    <a:pt x="200164" y="225288"/>
                  </a:cubicBezTo>
                  <a:lnTo>
                    <a:pt x="200164" y="2772"/>
                  </a:lnTo>
                  <a:lnTo>
                    <a:pt x="158585" y="2772"/>
                  </a:lnTo>
                  <a:close/>
                  <a:moveTo>
                    <a:pt x="151739" y="148932"/>
                  </a:moveTo>
                  <a:cubicBezTo>
                    <a:pt x="147302" y="159642"/>
                    <a:pt x="140837" y="167832"/>
                    <a:pt x="132344" y="173628"/>
                  </a:cubicBezTo>
                  <a:cubicBezTo>
                    <a:pt x="123850" y="179298"/>
                    <a:pt x="113456" y="182196"/>
                    <a:pt x="101160" y="182196"/>
                  </a:cubicBezTo>
                  <a:cubicBezTo>
                    <a:pt x="88483" y="182196"/>
                    <a:pt x="77834" y="179172"/>
                    <a:pt x="69341" y="173124"/>
                  </a:cubicBezTo>
                  <a:cubicBezTo>
                    <a:pt x="60848" y="167076"/>
                    <a:pt x="54256" y="158634"/>
                    <a:pt x="49946" y="147924"/>
                  </a:cubicBezTo>
                  <a:cubicBezTo>
                    <a:pt x="45509" y="137088"/>
                    <a:pt x="43354" y="124614"/>
                    <a:pt x="43354" y="110376"/>
                  </a:cubicBezTo>
                  <a:cubicBezTo>
                    <a:pt x="43354" y="96516"/>
                    <a:pt x="45509" y="83916"/>
                    <a:pt x="49819" y="72702"/>
                  </a:cubicBezTo>
                  <a:cubicBezTo>
                    <a:pt x="54129" y="61488"/>
                    <a:pt x="60594" y="52542"/>
                    <a:pt x="69088" y="45990"/>
                  </a:cubicBezTo>
                  <a:cubicBezTo>
                    <a:pt x="77581" y="39438"/>
                    <a:pt x="88356" y="36162"/>
                    <a:pt x="101160" y="36162"/>
                  </a:cubicBezTo>
                  <a:cubicBezTo>
                    <a:pt x="113582" y="36162"/>
                    <a:pt x="124104" y="39312"/>
                    <a:pt x="132597" y="45612"/>
                  </a:cubicBezTo>
                  <a:cubicBezTo>
                    <a:pt x="141091" y="51912"/>
                    <a:pt x="147429" y="60606"/>
                    <a:pt x="151866" y="71820"/>
                  </a:cubicBezTo>
                  <a:cubicBezTo>
                    <a:pt x="156176" y="83034"/>
                    <a:pt x="158458" y="95886"/>
                    <a:pt x="158458" y="110502"/>
                  </a:cubicBezTo>
                  <a:cubicBezTo>
                    <a:pt x="158331" y="125370"/>
                    <a:pt x="156176" y="138222"/>
                    <a:pt x="151739" y="14893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8" name="Freihandform 165">
              <a:extLst>
                <a:ext uri="{FF2B5EF4-FFF2-40B4-BE49-F238E27FC236}">
                  <a16:creationId xmlns:a16="http://schemas.microsoft.com/office/drawing/2014/main" id="{457D4293-93FB-4E03-9F0D-20D508009406}"/>
                </a:ext>
              </a:extLst>
            </p:cNvPr>
            <p:cNvSpPr/>
            <p:nvPr/>
          </p:nvSpPr>
          <p:spPr>
            <a:xfrm>
              <a:off x="6928854" y="3273830"/>
              <a:ext cx="134499" cy="304038"/>
            </a:xfrm>
            <a:custGeom>
              <a:avLst/>
              <a:gdLst>
                <a:gd name="connsiteX0" fmla="*/ 33974 w 134499"/>
                <a:gd name="connsiteY0" fmla="*/ 304038 h 304038"/>
                <a:gd name="connsiteX1" fmla="*/ 76567 w 134499"/>
                <a:gd name="connsiteY1" fmla="*/ 304038 h 304038"/>
                <a:gd name="connsiteX2" fmla="*/ 76567 w 134499"/>
                <a:gd name="connsiteY2" fmla="*/ 120204 h 304038"/>
                <a:gd name="connsiteX3" fmla="*/ 123851 w 134499"/>
                <a:gd name="connsiteY3" fmla="*/ 120204 h 304038"/>
                <a:gd name="connsiteX4" fmla="*/ 123851 w 134499"/>
                <a:gd name="connsiteY4" fmla="*/ 86184 h 304038"/>
                <a:gd name="connsiteX5" fmla="*/ 76567 w 134499"/>
                <a:gd name="connsiteY5" fmla="*/ 86184 h 304038"/>
                <a:gd name="connsiteX6" fmla="*/ 76567 w 134499"/>
                <a:gd name="connsiteY6" fmla="*/ 66654 h 304038"/>
                <a:gd name="connsiteX7" fmla="*/ 83159 w 134499"/>
                <a:gd name="connsiteY7" fmla="*/ 44478 h 304038"/>
                <a:gd name="connsiteX8" fmla="*/ 105343 w 134499"/>
                <a:gd name="connsiteY8" fmla="*/ 36792 h 304038"/>
                <a:gd name="connsiteX9" fmla="*/ 116752 w 134499"/>
                <a:gd name="connsiteY9" fmla="*/ 38052 h 304038"/>
                <a:gd name="connsiteX10" fmla="*/ 124484 w 134499"/>
                <a:gd name="connsiteY10" fmla="*/ 40068 h 304038"/>
                <a:gd name="connsiteX11" fmla="*/ 134499 w 134499"/>
                <a:gd name="connsiteY11" fmla="*/ 5796 h 304038"/>
                <a:gd name="connsiteX12" fmla="*/ 120935 w 134499"/>
                <a:gd name="connsiteY12" fmla="*/ 2016 h 304038"/>
                <a:gd name="connsiteX13" fmla="*/ 99005 w 134499"/>
                <a:gd name="connsiteY13" fmla="*/ 0 h 304038"/>
                <a:gd name="connsiteX14" fmla="*/ 66806 w 134499"/>
                <a:gd name="connsiteY14" fmla="*/ 6804 h 304038"/>
                <a:gd name="connsiteX15" fmla="*/ 42974 w 134499"/>
                <a:gd name="connsiteY15" fmla="*/ 27090 h 304038"/>
                <a:gd name="connsiteX16" fmla="*/ 33974 w 134499"/>
                <a:gd name="connsiteY16" fmla="*/ 60984 h 304038"/>
                <a:gd name="connsiteX17" fmla="*/ 33974 w 134499"/>
                <a:gd name="connsiteY17" fmla="*/ 86184 h 304038"/>
                <a:gd name="connsiteX18" fmla="*/ 0 w 134499"/>
                <a:gd name="connsiteY18" fmla="*/ 86184 h 304038"/>
                <a:gd name="connsiteX19" fmla="*/ 0 w 134499"/>
                <a:gd name="connsiteY19" fmla="*/ 120204 h 304038"/>
                <a:gd name="connsiteX20" fmla="*/ 33974 w 134499"/>
                <a:gd name="connsiteY20" fmla="*/ 120204 h 304038"/>
                <a:gd name="connsiteX21" fmla="*/ 33974 w 134499"/>
                <a:gd name="connsiteY21" fmla="*/ 304038 h 304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4499" h="304038">
                  <a:moveTo>
                    <a:pt x="33974" y="304038"/>
                  </a:moveTo>
                  <a:lnTo>
                    <a:pt x="76567" y="304038"/>
                  </a:lnTo>
                  <a:lnTo>
                    <a:pt x="76567" y="120204"/>
                  </a:lnTo>
                  <a:lnTo>
                    <a:pt x="123851" y="120204"/>
                  </a:lnTo>
                  <a:lnTo>
                    <a:pt x="123851" y="86184"/>
                  </a:lnTo>
                  <a:lnTo>
                    <a:pt x="76567" y="86184"/>
                  </a:lnTo>
                  <a:lnTo>
                    <a:pt x="76567" y="66654"/>
                  </a:lnTo>
                  <a:cubicBezTo>
                    <a:pt x="76567" y="56952"/>
                    <a:pt x="78849" y="49644"/>
                    <a:pt x="83159" y="44478"/>
                  </a:cubicBezTo>
                  <a:cubicBezTo>
                    <a:pt x="87595" y="39438"/>
                    <a:pt x="94948" y="36792"/>
                    <a:pt x="105343" y="36792"/>
                  </a:cubicBezTo>
                  <a:cubicBezTo>
                    <a:pt x="109780" y="36792"/>
                    <a:pt x="113583" y="37170"/>
                    <a:pt x="116752" y="38052"/>
                  </a:cubicBezTo>
                  <a:cubicBezTo>
                    <a:pt x="119921" y="38808"/>
                    <a:pt x="122456" y="39564"/>
                    <a:pt x="124484" y="40068"/>
                  </a:cubicBezTo>
                  <a:lnTo>
                    <a:pt x="134499" y="5796"/>
                  </a:lnTo>
                  <a:cubicBezTo>
                    <a:pt x="131583" y="4662"/>
                    <a:pt x="127020" y="3402"/>
                    <a:pt x="120935" y="2016"/>
                  </a:cubicBezTo>
                  <a:cubicBezTo>
                    <a:pt x="114851" y="630"/>
                    <a:pt x="107498" y="0"/>
                    <a:pt x="99005" y="0"/>
                  </a:cubicBezTo>
                  <a:cubicBezTo>
                    <a:pt x="87469" y="0"/>
                    <a:pt x="76694" y="2268"/>
                    <a:pt x="66806" y="6804"/>
                  </a:cubicBezTo>
                  <a:cubicBezTo>
                    <a:pt x="56918" y="11340"/>
                    <a:pt x="48932" y="18018"/>
                    <a:pt x="42974" y="27090"/>
                  </a:cubicBezTo>
                  <a:cubicBezTo>
                    <a:pt x="37016" y="36162"/>
                    <a:pt x="33974" y="47376"/>
                    <a:pt x="33974" y="60984"/>
                  </a:cubicBezTo>
                  <a:lnTo>
                    <a:pt x="33974" y="86184"/>
                  </a:lnTo>
                  <a:lnTo>
                    <a:pt x="0" y="86184"/>
                  </a:lnTo>
                  <a:lnTo>
                    <a:pt x="0" y="120204"/>
                  </a:lnTo>
                  <a:lnTo>
                    <a:pt x="33974" y="120204"/>
                  </a:lnTo>
                  <a:lnTo>
                    <a:pt x="33974" y="30403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9" name="Freihandform 166">
              <a:extLst>
                <a:ext uri="{FF2B5EF4-FFF2-40B4-BE49-F238E27FC236}">
                  <a16:creationId xmlns:a16="http://schemas.microsoft.com/office/drawing/2014/main" id="{8279655D-862F-44B8-9F2D-7E3F938A2BD7}"/>
                </a:ext>
              </a:extLst>
            </p:cNvPr>
            <p:cNvSpPr/>
            <p:nvPr/>
          </p:nvSpPr>
          <p:spPr>
            <a:xfrm>
              <a:off x="7083762" y="3357243"/>
              <a:ext cx="204093" cy="224909"/>
            </a:xfrm>
            <a:custGeom>
              <a:avLst/>
              <a:gdLst>
                <a:gd name="connsiteX0" fmla="*/ 204094 w 204093"/>
                <a:gd name="connsiteY0" fmla="*/ 112644 h 224909"/>
                <a:gd name="connsiteX1" fmla="*/ 191417 w 204093"/>
                <a:gd name="connsiteY1" fmla="*/ 53424 h 224909"/>
                <a:gd name="connsiteX2" fmla="*/ 155796 w 204093"/>
                <a:gd name="connsiteY2" fmla="*/ 13986 h 224909"/>
                <a:gd name="connsiteX3" fmla="*/ 102047 w 204093"/>
                <a:gd name="connsiteY3" fmla="*/ 0 h 224909"/>
                <a:gd name="connsiteX4" fmla="*/ 48298 w 204093"/>
                <a:gd name="connsiteY4" fmla="*/ 13986 h 224909"/>
                <a:gd name="connsiteX5" fmla="*/ 12677 w 204093"/>
                <a:gd name="connsiteY5" fmla="*/ 53424 h 224909"/>
                <a:gd name="connsiteX6" fmla="*/ 0 w 204093"/>
                <a:gd name="connsiteY6" fmla="*/ 112644 h 224909"/>
                <a:gd name="connsiteX7" fmla="*/ 12677 w 204093"/>
                <a:gd name="connsiteY7" fmla="*/ 171612 h 224909"/>
                <a:gd name="connsiteX8" fmla="*/ 48298 w 204093"/>
                <a:gd name="connsiteY8" fmla="*/ 210924 h 224909"/>
                <a:gd name="connsiteX9" fmla="*/ 102047 w 204093"/>
                <a:gd name="connsiteY9" fmla="*/ 224910 h 224909"/>
                <a:gd name="connsiteX10" fmla="*/ 155796 w 204093"/>
                <a:gd name="connsiteY10" fmla="*/ 210924 h 224909"/>
                <a:gd name="connsiteX11" fmla="*/ 191417 w 204093"/>
                <a:gd name="connsiteY11" fmla="*/ 171612 h 224909"/>
                <a:gd name="connsiteX12" fmla="*/ 204094 w 204093"/>
                <a:gd name="connsiteY12" fmla="*/ 112644 h 224909"/>
                <a:gd name="connsiteX13" fmla="*/ 154655 w 204093"/>
                <a:gd name="connsiteY13" fmla="*/ 150948 h 224909"/>
                <a:gd name="connsiteX14" fmla="*/ 135133 w 204093"/>
                <a:gd name="connsiteY14" fmla="*/ 178920 h 224909"/>
                <a:gd name="connsiteX15" fmla="*/ 102047 w 204093"/>
                <a:gd name="connsiteY15" fmla="*/ 189378 h 224909"/>
                <a:gd name="connsiteX16" fmla="*/ 68707 w 204093"/>
                <a:gd name="connsiteY16" fmla="*/ 178920 h 224909"/>
                <a:gd name="connsiteX17" fmla="*/ 49185 w 204093"/>
                <a:gd name="connsiteY17" fmla="*/ 150948 h 224909"/>
                <a:gd name="connsiteX18" fmla="*/ 42847 w 204093"/>
                <a:gd name="connsiteY18" fmla="*/ 112518 h 224909"/>
                <a:gd name="connsiteX19" fmla="*/ 49185 w 204093"/>
                <a:gd name="connsiteY19" fmla="*/ 74214 h 224909"/>
                <a:gd name="connsiteX20" fmla="*/ 68707 w 204093"/>
                <a:gd name="connsiteY20" fmla="*/ 46116 h 224909"/>
                <a:gd name="connsiteX21" fmla="*/ 102047 w 204093"/>
                <a:gd name="connsiteY21" fmla="*/ 35532 h 224909"/>
                <a:gd name="connsiteX22" fmla="*/ 135133 w 204093"/>
                <a:gd name="connsiteY22" fmla="*/ 46116 h 224909"/>
                <a:gd name="connsiteX23" fmla="*/ 154655 w 204093"/>
                <a:gd name="connsiteY23" fmla="*/ 74214 h 224909"/>
                <a:gd name="connsiteX24" fmla="*/ 160993 w 204093"/>
                <a:gd name="connsiteY24" fmla="*/ 112518 h 224909"/>
                <a:gd name="connsiteX25" fmla="*/ 154655 w 204093"/>
                <a:gd name="connsiteY25" fmla="*/ 150948 h 22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09">
                  <a:moveTo>
                    <a:pt x="204094" y="112644"/>
                  </a:moveTo>
                  <a:cubicBezTo>
                    <a:pt x="204094" y="90090"/>
                    <a:pt x="199911" y="70308"/>
                    <a:pt x="191417" y="53424"/>
                  </a:cubicBezTo>
                  <a:cubicBezTo>
                    <a:pt x="182924" y="36540"/>
                    <a:pt x="171008" y="23436"/>
                    <a:pt x="155796" y="13986"/>
                  </a:cubicBez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7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4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7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1" y="154854"/>
                    <a:pt x="204094" y="135198"/>
                    <a:pt x="204094" y="112644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10" y="189378"/>
                    <a:pt x="77581" y="185850"/>
                    <a:pt x="68707" y="178920"/>
                  </a:cubicBezTo>
                  <a:cubicBezTo>
                    <a:pt x="59961" y="171990"/>
                    <a:pt x="53369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9" y="62496"/>
                    <a:pt x="59961" y="53172"/>
                    <a:pt x="68707" y="46116"/>
                  </a:cubicBezTo>
                  <a:cubicBezTo>
                    <a:pt x="77454" y="39060"/>
                    <a:pt x="88610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0" name="Freihandform 167">
              <a:extLst>
                <a:ext uri="{FF2B5EF4-FFF2-40B4-BE49-F238E27FC236}">
                  <a16:creationId xmlns:a16="http://schemas.microsoft.com/office/drawing/2014/main" id="{23055635-2B90-4635-86D1-B3E930110EBA}"/>
                </a:ext>
              </a:extLst>
            </p:cNvPr>
            <p:cNvSpPr/>
            <p:nvPr/>
          </p:nvSpPr>
          <p:spPr>
            <a:xfrm>
              <a:off x="7332097" y="3356739"/>
              <a:ext cx="117258" cy="221004"/>
            </a:xfrm>
            <a:custGeom>
              <a:avLst/>
              <a:gdLst>
                <a:gd name="connsiteX0" fmla="*/ 41199 w 117258"/>
                <a:gd name="connsiteY0" fmla="*/ 3276 h 221004"/>
                <a:gd name="connsiteX1" fmla="*/ 0 w 117258"/>
                <a:gd name="connsiteY1" fmla="*/ 3276 h 221004"/>
                <a:gd name="connsiteX2" fmla="*/ 0 w 117258"/>
                <a:gd name="connsiteY2" fmla="*/ 221004 h 221004"/>
                <a:gd name="connsiteX3" fmla="*/ 42720 w 117258"/>
                <a:gd name="connsiteY3" fmla="*/ 221004 h 221004"/>
                <a:gd name="connsiteX4" fmla="*/ 42720 w 117258"/>
                <a:gd name="connsiteY4" fmla="*/ 88074 h 221004"/>
                <a:gd name="connsiteX5" fmla="*/ 49565 w 117258"/>
                <a:gd name="connsiteY5" fmla="*/ 62748 h 221004"/>
                <a:gd name="connsiteX6" fmla="*/ 68200 w 117258"/>
                <a:gd name="connsiteY6" fmla="*/ 45360 h 221004"/>
                <a:gd name="connsiteX7" fmla="*/ 95075 w 117258"/>
                <a:gd name="connsiteY7" fmla="*/ 39060 h 221004"/>
                <a:gd name="connsiteX8" fmla="*/ 108132 w 117258"/>
                <a:gd name="connsiteY8" fmla="*/ 39942 h 221004"/>
                <a:gd name="connsiteX9" fmla="*/ 117259 w 117258"/>
                <a:gd name="connsiteY9" fmla="*/ 41580 h 221004"/>
                <a:gd name="connsiteX10" fmla="*/ 117259 w 117258"/>
                <a:gd name="connsiteY10" fmla="*/ 1008 h 221004"/>
                <a:gd name="connsiteX11" fmla="*/ 108638 w 117258"/>
                <a:gd name="connsiteY11" fmla="*/ 252 h 221004"/>
                <a:gd name="connsiteX12" fmla="*/ 99131 w 117258"/>
                <a:gd name="connsiteY12" fmla="*/ 0 h 221004"/>
                <a:gd name="connsiteX13" fmla="*/ 64650 w 117258"/>
                <a:gd name="connsiteY13" fmla="*/ 10080 h 221004"/>
                <a:gd name="connsiteX14" fmla="*/ 43481 w 117258"/>
                <a:gd name="connsiteY14" fmla="*/ 37800 h 221004"/>
                <a:gd name="connsiteX15" fmla="*/ 41199 w 117258"/>
                <a:gd name="connsiteY15" fmla="*/ 37800 h 221004"/>
                <a:gd name="connsiteX16" fmla="*/ 41199 w 117258"/>
                <a:gd name="connsiteY16" fmla="*/ 3276 h 221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4">
                  <a:moveTo>
                    <a:pt x="41199" y="3276"/>
                  </a:move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5" y="62748"/>
                  </a:cubicBezTo>
                  <a:cubicBezTo>
                    <a:pt x="54129" y="55314"/>
                    <a:pt x="60340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1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8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0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1" name="Freihandform 168">
              <a:extLst>
                <a:ext uri="{FF2B5EF4-FFF2-40B4-BE49-F238E27FC236}">
                  <a16:creationId xmlns:a16="http://schemas.microsoft.com/office/drawing/2014/main" id="{7CD89335-1D2A-43FB-8FCC-3E6DDEA0D260}"/>
                </a:ext>
              </a:extLst>
            </p:cNvPr>
            <p:cNvSpPr/>
            <p:nvPr/>
          </p:nvSpPr>
          <p:spPr>
            <a:xfrm>
              <a:off x="7576249" y="3357243"/>
              <a:ext cx="182289" cy="225539"/>
            </a:xfrm>
            <a:custGeom>
              <a:avLst/>
              <a:gdLst>
                <a:gd name="connsiteX0" fmla="*/ 152627 w 182289"/>
                <a:gd name="connsiteY0" fmla="*/ 14112 h 225539"/>
                <a:gd name="connsiteX1" fmla="*/ 124992 w 182289"/>
                <a:gd name="connsiteY1" fmla="*/ 3024 h 225539"/>
                <a:gd name="connsiteX2" fmla="*/ 97103 w 182289"/>
                <a:gd name="connsiteY2" fmla="*/ 0 h 225539"/>
                <a:gd name="connsiteX3" fmla="*/ 59326 w 182289"/>
                <a:gd name="connsiteY3" fmla="*/ 5544 h 225539"/>
                <a:gd name="connsiteX4" fmla="*/ 27635 w 182289"/>
                <a:gd name="connsiteY4" fmla="*/ 23436 h 225539"/>
                <a:gd name="connsiteX5" fmla="*/ 6719 w 182289"/>
                <a:gd name="connsiteY5" fmla="*/ 55566 h 225539"/>
                <a:gd name="connsiteX6" fmla="*/ 46777 w 182289"/>
                <a:gd name="connsiteY6" fmla="*/ 64638 h 225539"/>
                <a:gd name="connsiteX7" fmla="*/ 63890 w 182289"/>
                <a:gd name="connsiteY7" fmla="*/ 43722 h 225539"/>
                <a:gd name="connsiteX8" fmla="*/ 97737 w 182289"/>
                <a:gd name="connsiteY8" fmla="*/ 34272 h 225539"/>
                <a:gd name="connsiteX9" fmla="*/ 128921 w 182289"/>
                <a:gd name="connsiteY9" fmla="*/ 44478 h 225539"/>
                <a:gd name="connsiteX10" fmla="*/ 139443 w 182289"/>
                <a:gd name="connsiteY10" fmla="*/ 73332 h 225539"/>
                <a:gd name="connsiteX11" fmla="*/ 139443 w 182289"/>
                <a:gd name="connsiteY11" fmla="*/ 74340 h 225539"/>
                <a:gd name="connsiteX12" fmla="*/ 133865 w 182289"/>
                <a:gd name="connsiteY12" fmla="*/ 85428 h 225539"/>
                <a:gd name="connsiteX13" fmla="*/ 115991 w 182289"/>
                <a:gd name="connsiteY13" fmla="*/ 90342 h 225539"/>
                <a:gd name="connsiteX14" fmla="*/ 84046 w 182289"/>
                <a:gd name="connsiteY14" fmla="*/ 94122 h 225539"/>
                <a:gd name="connsiteX15" fmla="*/ 53495 w 182289"/>
                <a:gd name="connsiteY15" fmla="*/ 99540 h 225539"/>
                <a:gd name="connsiteX16" fmla="*/ 26368 w 182289"/>
                <a:gd name="connsiteY16" fmla="*/ 109998 h 225539"/>
                <a:gd name="connsiteX17" fmla="*/ 7099 w 182289"/>
                <a:gd name="connsiteY17" fmla="*/ 128898 h 225539"/>
                <a:gd name="connsiteX18" fmla="*/ 0 w 182289"/>
                <a:gd name="connsiteY18" fmla="*/ 159264 h 225539"/>
                <a:gd name="connsiteX19" fmla="*/ 9761 w 182289"/>
                <a:gd name="connsiteY19" fmla="*/ 195426 h 225539"/>
                <a:gd name="connsiteX20" fmla="*/ 36382 w 182289"/>
                <a:gd name="connsiteY20" fmla="*/ 217854 h 225539"/>
                <a:gd name="connsiteX21" fmla="*/ 74031 w 182289"/>
                <a:gd name="connsiteY21" fmla="*/ 225540 h 225539"/>
                <a:gd name="connsiteX22" fmla="*/ 105089 w 182289"/>
                <a:gd name="connsiteY22" fmla="*/ 220248 h 225539"/>
                <a:gd name="connsiteX23" fmla="*/ 126386 w 182289"/>
                <a:gd name="connsiteY23" fmla="*/ 207018 h 225539"/>
                <a:gd name="connsiteX24" fmla="*/ 138809 w 182289"/>
                <a:gd name="connsiteY24" fmla="*/ 190890 h 225539"/>
                <a:gd name="connsiteX25" fmla="*/ 140584 w 182289"/>
                <a:gd name="connsiteY25" fmla="*/ 190890 h 225539"/>
                <a:gd name="connsiteX26" fmla="*/ 140584 w 182289"/>
                <a:gd name="connsiteY26" fmla="*/ 220626 h 225539"/>
                <a:gd name="connsiteX27" fmla="*/ 182290 w 182289"/>
                <a:gd name="connsiteY27" fmla="*/ 220626 h 225539"/>
                <a:gd name="connsiteX28" fmla="*/ 182290 w 182289"/>
                <a:gd name="connsiteY28" fmla="*/ 75978 h 225539"/>
                <a:gd name="connsiteX29" fmla="*/ 173923 w 182289"/>
                <a:gd name="connsiteY29" fmla="*/ 37170 h 225539"/>
                <a:gd name="connsiteX30" fmla="*/ 152627 w 182289"/>
                <a:gd name="connsiteY30" fmla="*/ 14112 h 225539"/>
                <a:gd name="connsiteX31" fmla="*/ 139443 w 182289"/>
                <a:gd name="connsiteY31" fmla="*/ 142002 h 225539"/>
                <a:gd name="connsiteX32" fmla="*/ 132851 w 182289"/>
                <a:gd name="connsiteY32" fmla="*/ 166194 h 225539"/>
                <a:gd name="connsiteX33" fmla="*/ 113582 w 182289"/>
                <a:gd name="connsiteY33" fmla="*/ 184464 h 225539"/>
                <a:gd name="connsiteX34" fmla="*/ 83285 w 182289"/>
                <a:gd name="connsiteY34" fmla="*/ 191394 h 225539"/>
                <a:gd name="connsiteX35" fmla="*/ 53495 w 182289"/>
                <a:gd name="connsiteY35" fmla="*/ 183330 h 225539"/>
                <a:gd name="connsiteX36" fmla="*/ 41833 w 182289"/>
                <a:gd name="connsiteY36" fmla="*/ 159642 h 225539"/>
                <a:gd name="connsiteX37" fmla="*/ 47918 w 182289"/>
                <a:gd name="connsiteY37" fmla="*/ 141372 h 225539"/>
                <a:gd name="connsiteX38" fmla="*/ 64144 w 182289"/>
                <a:gd name="connsiteY38" fmla="*/ 130788 h 225539"/>
                <a:gd name="connsiteX39" fmla="*/ 86708 w 182289"/>
                <a:gd name="connsiteY39" fmla="*/ 125496 h 225539"/>
                <a:gd name="connsiteX40" fmla="*/ 99892 w 182289"/>
                <a:gd name="connsiteY40" fmla="*/ 123732 h 225539"/>
                <a:gd name="connsiteX41" fmla="*/ 115991 w 182289"/>
                <a:gd name="connsiteY41" fmla="*/ 121338 h 225539"/>
                <a:gd name="connsiteX42" fmla="*/ 130823 w 182289"/>
                <a:gd name="connsiteY42" fmla="*/ 118062 h 225539"/>
                <a:gd name="connsiteX43" fmla="*/ 139570 w 182289"/>
                <a:gd name="connsiteY43" fmla="*/ 113904 h 225539"/>
                <a:gd name="connsiteX44" fmla="*/ 139570 w 182289"/>
                <a:gd name="connsiteY44" fmla="*/ 142002 h 225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82289" h="225539">
                  <a:moveTo>
                    <a:pt x="152627" y="14112"/>
                  </a:moveTo>
                  <a:cubicBezTo>
                    <a:pt x="144007" y="8694"/>
                    <a:pt x="134753" y="5040"/>
                    <a:pt x="124992" y="3024"/>
                  </a:cubicBezTo>
                  <a:cubicBezTo>
                    <a:pt x="115104" y="1008"/>
                    <a:pt x="105850" y="0"/>
                    <a:pt x="97103" y="0"/>
                  </a:cubicBezTo>
                  <a:cubicBezTo>
                    <a:pt x="83919" y="0"/>
                    <a:pt x="71243" y="1890"/>
                    <a:pt x="59326" y="5544"/>
                  </a:cubicBezTo>
                  <a:cubicBezTo>
                    <a:pt x="47411" y="9324"/>
                    <a:pt x="36762" y="15246"/>
                    <a:pt x="27635" y="23436"/>
                  </a:cubicBezTo>
                  <a:cubicBezTo>
                    <a:pt x="18508" y="31626"/>
                    <a:pt x="11536" y="42336"/>
                    <a:pt x="6719" y="55566"/>
                  </a:cubicBezTo>
                  <a:lnTo>
                    <a:pt x="46777" y="64638"/>
                  </a:lnTo>
                  <a:cubicBezTo>
                    <a:pt x="49946" y="56952"/>
                    <a:pt x="55651" y="50022"/>
                    <a:pt x="63890" y="43722"/>
                  </a:cubicBezTo>
                  <a:cubicBezTo>
                    <a:pt x="72130" y="37422"/>
                    <a:pt x="83412" y="34272"/>
                    <a:pt x="97737" y="34272"/>
                  </a:cubicBezTo>
                  <a:cubicBezTo>
                    <a:pt x="111554" y="34272"/>
                    <a:pt x="121949" y="37674"/>
                    <a:pt x="128921" y="44478"/>
                  </a:cubicBezTo>
                  <a:cubicBezTo>
                    <a:pt x="135893" y="51282"/>
                    <a:pt x="139443" y="60858"/>
                    <a:pt x="139443" y="73332"/>
                  </a:cubicBezTo>
                  <a:lnTo>
                    <a:pt x="139443" y="74340"/>
                  </a:lnTo>
                  <a:cubicBezTo>
                    <a:pt x="139443" y="79380"/>
                    <a:pt x="137668" y="83160"/>
                    <a:pt x="133865" y="85428"/>
                  </a:cubicBezTo>
                  <a:cubicBezTo>
                    <a:pt x="130189" y="87696"/>
                    <a:pt x="124231" y="89334"/>
                    <a:pt x="115991" y="90342"/>
                  </a:cubicBezTo>
                  <a:cubicBezTo>
                    <a:pt x="107751" y="91350"/>
                    <a:pt x="97103" y="92610"/>
                    <a:pt x="84046" y="94122"/>
                  </a:cubicBezTo>
                  <a:cubicBezTo>
                    <a:pt x="73651" y="95382"/>
                    <a:pt x="63510" y="97146"/>
                    <a:pt x="53495" y="99540"/>
                  </a:cubicBezTo>
                  <a:cubicBezTo>
                    <a:pt x="43481" y="101934"/>
                    <a:pt x="34480" y="105462"/>
                    <a:pt x="26368" y="109998"/>
                  </a:cubicBezTo>
                  <a:cubicBezTo>
                    <a:pt x="18254" y="114660"/>
                    <a:pt x="11916" y="120960"/>
                    <a:pt x="7099" y="128898"/>
                  </a:cubicBezTo>
                  <a:cubicBezTo>
                    <a:pt x="2409" y="136836"/>
                    <a:pt x="0" y="146916"/>
                    <a:pt x="0" y="159264"/>
                  </a:cubicBezTo>
                  <a:cubicBezTo>
                    <a:pt x="0" y="173502"/>
                    <a:pt x="3296" y="185598"/>
                    <a:pt x="9761" y="195426"/>
                  </a:cubicBezTo>
                  <a:cubicBezTo>
                    <a:pt x="16226" y="205254"/>
                    <a:pt x="25100" y="212688"/>
                    <a:pt x="36382" y="217854"/>
                  </a:cubicBezTo>
                  <a:cubicBezTo>
                    <a:pt x="47664" y="223020"/>
                    <a:pt x="60087" y="225540"/>
                    <a:pt x="74031" y="225540"/>
                  </a:cubicBezTo>
                  <a:cubicBezTo>
                    <a:pt x="86074" y="225540"/>
                    <a:pt x="96469" y="223776"/>
                    <a:pt x="105089" y="220248"/>
                  </a:cubicBezTo>
                  <a:cubicBezTo>
                    <a:pt x="113709" y="216720"/>
                    <a:pt x="120808" y="212310"/>
                    <a:pt x="126386" y="207018"/>
                  </a:cubicBezTo>
                  <a:cubicBezTo>
                    <a:pt x="131837" y="201726"/>
                    <a:pt x="136020" y="196308"/>
                    <a:pt x="138809" y="190890"/>
                  </a:cubicBezTo>
                  <a:lnTo>
                    <a:pt x="140584" y="190890"/>
                  </a:lnTo>
                  <a:lnTo>
                    <a:pt x="140584" y="220626"/>
                  </a:lnTo>
                  <a:lnTo>
                    <a:pt x="182290" y="220626"/>
                  </a:lnTo>
                  <a:lnTo>
                    <a:pt x="182290" y="75978"/>
                  </a:lnTo>
                  <a:cubicBezTo>
                    <a:pt x="182290" y="60102"/>
                    <a:pt x="179501" y="47124"/>
                    <a:pt x="173923" y="37170"/>
                  </a:cubicBezTo>
                  <a:cubicBezTo>
                    <a:pt x="168219" y="27216"/>
                    <a:pt x="161247" y="19530"/>
                    <a:pt x="152627" y="14112"/>
                  </a:cubicBezTo>
                  <a:close/>
                  <a:moveTo>
                    <a:pt x="139443" y="142002"/>
                  </a:moveTo>
                  <a:cubicBezTo>
                    <a:pt x="139443" y="150570"/>
                    <a:pt x="137161" y="158634"/>
                    <a:pt x="132851" y="166194"/>
                  </a:cubicBezTo>
                  <a:cubicBezTo>
                    <a:pt x="128414" y="173754"/>
                    <a:pt x="122076" y="179802"/>
                    <a:pt x="113582" y="184464"/>
                  </a:cubicBezTo>
                  <a:cubicBezTo>
                    <a:pt x="105216" y="189126"/>
                    <a:pt x="95075" y="191394"/>
                    <a:pt x="83285" y="191394"/>
                  </a:cubicBezTo>
                  <a:cubicBezTo>
                    <a:pt x="71243" y="191394"/>
                    <a:pt x="61228" y="188748"/>
                    <a:pt x="53495" y="183330"/>
                  </a:cubicBezTo>
                  <a:cubicBezTo>
                    <a:pt x="45636" y="178038"/>
                    <a:pt x="41833" y="170100"/>
                    <a:pt x="41833" y="159642"/>
                  </a:cubicBezTo>
                  <a:cubicBezTo>
                    <a:pt x="41833" y="152082"/>
                    <a:pt x="43861" y="146034"/>
                    <a:pt x="47918" y="141372"/>
                  </a:cubicBezTo>
                  <a:cubicBezTo>
                    <a:pt x="51974" y="136836"/>
                    <a:pt x="57425" y="133308"/>
                    <a:pt x="64144" y="130788"/>
                  </a:cubicBezTo>
                  <a:cubicBezTo>
                    <a:pt x="70989" y="128394"/>
                    <a:pt x="78468" y="126630"/>
                    <a:pt x="86708" y="125496"/>
                  </a:cubicBezTo>
                  <a:cubicBezTo>
                    <a:pt x="90257" y="124992"/>
                    <a:pt x="94567" y="124488"/>
                    <a:pt x="99892" y="123732"/>
                  </a:cubicBezTo>
                  <a:cubicBezTo>
                    <a:pt x="105089" y="122976"/>
                    <a:pt x="110540" y="122220"/>
                    <a:pt x="115991" y="121338"/>
                  </a:cubicBezTo>
                  <a:cubicBezTo>
                    <a:pt x="121442" y="120456"/>
                    <a:pt x="126386" y="119322"/>
                    <a:pt x="130823" y="118062"/>
                  </a:cubicBezTo>
                  <a:cubicBezTo>
                    <a:pt x="135133" y="116802"/>
                    <a:pt x="138049" y="115416"/>
                    <a:pt x="139570" y="113904"/>
                  </a:cubicBezTo>
                  <a:lnTo>
                    <a:pt x="139570" y="14200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2" name="Freihandform 169">
              <a:extLst>
                <a:ext uri="{FF2B5EF4-FFF2-40B4-BE49-F238E27FC236}">
                  <a16:creationId xmlns:a16="http://schemas.microsoft.com/office/drawing/2014/main" id="{4E94D460-9BED-49DA-81EE-4942BCA9B41F}"/>
                </a:ext>
              </a:extLst>
            </p:cNvPr>
            <p:cNvSpPr/>
            <p:nvPr/>
          </p:nvSpPr>
          <p:spPr>
            <a:xfrm>
              <a:off x="7918517" y="3287439"/>
              <a:ext cx="200163" cy="294588"/>
            </a:xfrm>
            <a:custGeom>
              <a:avLst/>
              <a:gdLst>
                <a:gd name="connsiteX0" fmla="*/ 155415 w 200163"/>
                <a:gd name="connsiteY0" fmla="*/ 83034 h 294588"/>
                <a:gd name="connsiteX1" fmla="*/ 108132 w 200163"/>
                <a:gd name="connsiteY1" fmla="*/ 69678 h 294588"/>
                <a:gd name="connsiteX2" fmla="*/ 75299 w 200163"/>
                <a:gd name="connsiteY2" fmla="*/ 76356 h 294588"/>
                <a:gd name="connsiteX3" fmla="*/ 55904 w 200163"/>
                <a:gd name="connsiteY3" fmla="*/ 91980 h 294588"/>
                <a:gd name="connsiteX4" fmla="*/ 45129 w 200163"/>
                <a:gd name="connsiteY4" fmla="*/ 107730 h 294588"/>
                <a:gd name="connsiteX5" fmla="*/ 42594 w 200163"/>
                <a:gd name="connsiteY5" fmla="*/ 107730 h 294588"/>
                <a:gd name="connsiteX6" fmla="*/ 42594 w 200163"/>
                <a:gd name="connsiteY6" fmla="*/ 0 h 294588"/>
                <a:gd name="connsiteX7" fmla="*/ 0 w 200163"/>
                <a:gd name="connsiteY7" fmla="*/ 0 h 294588"/>
                <a:gd name="connsiteX8" fmla="*/ 0 w 200163"/>
                <a:gd name="connsiteY8" fmla="*/ 290304 h 294588"/>
                <a:gd name="connsiteX9" fmla="*/ 41579 w 200163"/>
                <a:gd name="connsiteY9" fmla="*/ 290304 h 294588"/>
                <a:gd name="connsiteX10" fmla="*/ 41579 w 200163"/>
                <a:gd name="connsiteY10" fmla="*/ 256410 h 294588"/>
                <a:gd name="connsiteX11" fmla="*/ 45129 w 200163"/>
                <a:gd name="connsiteY11" fmla="*/ 256410 h 294588"/>
                <a:gd name="connsiteX12" fmla="*/ 56157 w 200163"/>
                <a:gd name="connsiteY12" fmla="*/ 272286 h 294588"/>
                <a:gd name="connsiteX13" fmla="*/ 75933 w 200163"/>
                <a:gd name="connsiteY13" fmla="*/ 287910 h 294588"/>
                <a:gd name="connsiteX14" fmla="*/ 108512 w 200163"/>
                <a:gd name="connsiteY14" fmla="*/ 294588 h 294588"/>
                <a:gd name="connsiteX15" fmla="*/ 155796 w 200163"/>
                <a:gd name="connsiteY15" fmla="*/ 281106 h 294588"/>
                <a:gd name="connsiteX16" fmla="*/ 188375 w 200163"/>
                <a:gd name="connsiteY16" fmla="*/ 242424 h 294588"/>
                <a:gd name="connsiteX17" fmla="*/ 200164 w 200163"/>
                <a:gd name="connsiteY17" fmla="*/ 181944 h 294588"/>
                <a:gd name="connsiteX18" fmla="*/ 188248 w 200163"/>
                <a:gd name="connsiteY18" fmla="*/ 121590 h 294588"/>
                <a:gd name="connsiteX19" fmla="*/ 155415 w 200163"/>
                <a:gd name="connsiteY19" fmla="*/ 83034 h 294588"/>
                <a:gd name="connsiteX20" fmla="*/ 150345 w 200163"/>
                <a:gd name="connsiteY20" fmla="*/ 220752 h 294588"/>
                <a:gd name="connsiteX21" fmla="*/ 130823 w 200163"/>
                <a:gd name="connsiteY21" fmla="*/ 248346 h 294588"/>
                <a:gd name="connsiteX22" fmla="*/ 98878 w 200163"/>
                <a:gd name="connsiteY22" fmla="*/ 258426 h 294588"/>
                <a:gd name="connsiteX23" fmla="*/ 67820 w 200163"/>
                <a:gd name="connsiteY23" fmla="*/ 248724 h 294588"/>
                <a:gd name="connsiteX24" fmla="*/ 48425 w 200163"/>
                <a:gd name="connsiteY24" fmla="*/ 221760 h 294588"/>
                <a:gd name="connsiteX25" fmla="*/ 41706 w 200163"/>
                <a:gd name="connsiteY25" fmla="*/ 181440 h 294588"/>
                <a:gd name="connsiteX26" fmla="*/ 48298 w 200163"/>
                <a:gd name="connsiteY26" fmla="*/ 141750 h 294588"/>
                <a:gd name="connsiteX27" fmla="*/ 67567 w 200163"/>
                <a:gd name="connsiteY27" fmla="*/ 115290 h 294588"/>
                <a:gd name="connsiteX28" fmla="*/ 98878 w 200163"/>
                <a:gd name="connsiteY28" fmla="*/ 105840 h 294588"/>
                <a:gd name="connsiteX29" fmla="*/ 131076 w 200163"/>
                <a:gd name="connsiteY29" fmla="*/ 115794 h 294588"/>
                <a:gd name="connsiteX30" fmla="*/ 150471 w 200163"/>
                <a:gd name="connsiteY30" fmla="*/ 142884 h 294588"/>
                <a:gd name="connsiteX31" fmla="*/ 156937 w 200163"/>
                <a:gd name="connsiteY31" fmla="*/ 181566 h 294588"/>
                <a:gd name="connsiteX32" fmla="*/ 150345 w 200163"/>
                <a:gd name="connsiteY32" fmla="*/ 220752 h 29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163" h="294588">
                  <a:moveTo>
                    <a:pt x="155415" y="83034"/>
                  </a:moveTo>
                  <a:cubicBezTo>
                    <a:pt x="141598" y="74214"/>
                    <a:pt x="125752" y="69678"/>
                    <a:pt x="108132" y="69678"/>
                  </a:cubicBezTo>
                  <a:cubicBezTo>
                    <a:pt x="94567" y="69678"/>
                    <a:pt x="83539" y="71946"/>
                    <a:pt x="75299" y="76356"/>
                  </a:cubicBezTo>
                  <a:cubicBezTo>
                    <a:pt x="66933" y="80892"/>
                    <a:pt x="60468" y="86058"/>
                    <a:pt x="55904" y="91980"/>
                  </a:cubicBezTo>
                  <a:cubicBezTo>
                    <a:pt x="51214" y="97902"/>
                    <a:pt x="47664" y="103194"/>
                    <a:pt x="45129" y="107730"/>
                  </a:cubicBezTo>
                  <a:lnTo>
                    <a:pt x="42594" y="107730"/>
                  </a:lnTo>
                  <a:lnTo>
                    <a:pt x="42594" y="0"/>
                  </a:lnTo>
                  <a:lnTo>
                    <a:pt x="0" y="0"/>
                  </a:lnTo>
                  <a:lnTo>
                    <a:pt x="0" y="290304"/>
                  </a:lnTo>
                  <a:lnTo>
                    <a:pt x="41579" y="290304"/>
                  </a:lnTo>
                  <a:lnTo>
                    <a:pt x="41579" y="256410"/>
                  </a:lnTo>
                  <a:lnTo>
                    <a:pt x="45129" y="256410"/>
                  </a:lnTo>
                  <a:cubicBezTo>
                    <a:pt x="47664" y="261072"/>
                    <a:pt x="51341" y="266364"/>
                    <a:pt x="56157" y="272286"/>
                  </a:cubicBezTo>
                  <a:cubicBezTo>
                    <a:pt x="60848" y="278208"/>
                    <a:pt x="67567" y="283500"/>
                    <a:pt x="75933" y="287910"/>
                  </a:cubicBezTo>
                  <a:cubicBezTo>
                    <a:pt x="84299" y="292320"/>
                    <a:pt x="95202" y="294588"/>
                    <a:pt x="108512" y="294588"/>
                  </a:cubicBezTo>
                  <a:cubicBezTo>
                    <a:pt x="126133" y="294588"/>
                    <a:pt x="141978" y="290052"/>
                    <a:pt x="155796" y="281106"/>
                  </a:cubicBezTo>
                  <a:cubicBezTo>
                    <a:pt x="169613" y="272034"/>
                    <a:pt x="180388" y="259182"/>
                    <a:pt x="188375" y="242424"/>
                  </a:cubicBezTo>
                  <a:cubicBezTo>
                    <a:pt x="196234" y="225666"/>
                    <a:pt x="200164" y="205506"/>
                    <a:pt x="200164" y="181944"/>
                  </a:cubicBezTo>
                  <a:cubicBezTo>
                    <a:pt x="200164" y="158382"/>
                    <a:pt x="196234" y="138222"/>
                    <a:pt x="188248" y="121590"/>
                  </a:cubicBezTo>
                  <a:cubicBezTo>
                    <a:pt x="180262" y="104832"/>
                    <a:pt x="169360" y="91980"/>
                    <a:pt x="155415" y="83034"/>
                  </a:cubicBezTo>
                  <a:close/>
                  <a:moveTo>
                    <a:pt x="150345" y="220752"/>
                  </a:moveTo>
                  <a:cubicBezTo>
                    <a:pt x="145908" y="232344"/>
                    <a:pt x="139443" y="241542"/>
                    <a:pt x="130823" y="248346"/>
                  </a:cubicBezTo>
                  <a:cubicBezTo>
                    <a:pt x="122329" y="255150"/>
                    <a:pt x="111554" y="258426"/>
                    <a:pt x="98878" y="258426"/>
                  </a:cubicBezTo>
                  <a:cubicBezTo>
                    <a:pt x="86582" y="258426"/>
                    <a:pt x="76313" y="255150"/>
                    <a:pt x="67820" y="248724"/>
                  </a:cubicBezTo>
                  <a:cubicBezTo>
                    <a:pt x="59326" y="242298"/>
                    <a:pt x="52862" y="233226"/>
                    <a:pt x="48425" y="221760"/>
                  </a:cubicBezTo>
                  <a:cubicBezTo>
                    <a:pt x="43988" y="210294"/>
                    <a:pt x="41706" y="196812"/>
                    <a:pt x="41706" y="181440"/>
                  </a:cubicBezTo>
                  <a:cubicBezTo>
                    <a:pt x="41706" y="166320"/>
                    <a:pt x="43861" y="153090"/>
                    <a:pt x="48298" y="141750"/>
                  </a:cubicBezTo>
                  <a:cubicBezTo>
                    <a:pt x="52608" y="130410"/>
                    <a:pt x="59073" y="121590"/>
                    <a:pt x="67567" y="115290"/>
                  </a:cubicBezTo>
                  <a:cubicBezTo>
                    <a:pt x="76060" y="108990"/>
                    <a:pt x="86455" y="105840"/>
                    <a:pt x="98878" y="105840"/>
                  </a:cubicBezTo>
                  <a:cubicBezTo>
                    <a:pt x="111681" y="105840"/>
                    <a:pt x="122456" y="109116"/>
                    <a:pt x="131076" y="115794"/>
                  </a:cubicBezTo>
                  <a:cubicBezTo>
                    <a:pt x="139697" y="122472"/>
                    <a:pt x="146161" y="131418"/>
                    <a:pt x="150471" y="142884"/>
                  </a:cubicBezTo>
                  <a:cubicBezTo>
                    <a:pt x="154781" y="154350"/>
                    <a:pt x="156937" y="167202"/>
                    <a:pt x="156937" y="181566"/>
                  </a:cubicBezTo>
                  <a:cubicBezTo>
                    <a:pt x="156937" y="196056"/>
                    <a:pt x="154781" y="209160"/>
                    <a:pt x="150345" y="2207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3" name="Freihandform 170">
              <a:extLst>
                <a:ext uri="{FF2B5EF4-FFF2-40B4-BE49-F238E27FC236}">
                  <a16:creationId xmlns:a16="http://schemas.microsoft.com/office/drawing/2014/main" id="{B609A7E8-1FF0-4B3D-B11B-CDC0ADFFFD54}"/>
                </a:ext>
              </a:extLst>
            </p:cNvPr>
            <p:cNvSpPr/>
            <p:nvPr/>
          </p:nvSpPr>
          <p:spPr>
            <a:xfrm>
              <a:off x="8153289" y="3357243"/>
              <a:ext cx="198388" cy="225035"/>
            </a:xfrm>
            <a:custGeom>
              <a:avLst/>
              <a:gdLst>
                <a:gd name="connsiteX0" fmla="*/ 168472 w 198388"/>
                <a:gd name="connsiteY0" fmla="*/ 25200 h 225035"/>
                <a:gd name="connsiteX1" fmla="*/ 137288 w 198388"/>
                <a:gd name="connsiteY1" fmla="*/ 6048 h 225035"/>
                <a:gd name="connsiteX2" fmla="*/ 101286 w 198388"/>
                <a:gd name="connsiteY2" fmla="*/ 0 h 225035"/>
                <a:gd name="connsiteX3" fmla="*/ 48044 w 198388"/>
                <a:gd name="connsiteY3" fmla="*/ 14364 h 225035"/>
                <a:gd name="connsiteX4" fmla="*/ 12677 w 198388"/>
                <a:gd name="connsiteY4" fmla="*/ 54180 h 225035"/>
                <a:gd name="connsiteX5" fmla="*/ 0 w 198388"/>
                <a:gd name="connsiteY5" fmla="*/ 113148 h 225035"/>
                <a:gd name="connsiteX6" fmla="*/ 12677 w 198388"/>
                <a:gd name="connsiteY6" fmla="*/ 172242 h 225035"/>
                <a:gd name="connsiteX7" fmla="*/ 48551 w 198388"/>
                <a:gd name="connsiteY7" fmla="*/ 211176 h 225035"/>
                <a:gd name="connsiteX8" fmla="*/ 104328 w 198388"/>
                <a:gd name="connsiteY8" fmla="*/ 225036 h 225035"/>
                <a:gd name="connsiteX9" fmla="*/ 147048 w 198388"/>
                <a:gd name="connsiteY9" fmla="*/ 217728 h 225035"/>
                <a:gd name="connsiteX10" fmla="*/ 178233 w 198388"/>
                <a:gd name="connsiteY10" fmla="*/ 197190 h 225035"/>
                <a:gd name="connsiteX11" fmla="*/ 195600 w 198388"/>
                <a:gd name="connsiteY11" fmla="*/ 166194 h 225035"/>
                <a:gd name="connsiteX12" fmla="*/ 155289 w 198388"/>
                <a:gd name="connsiteY12" fmla="*/ 159012 h 225035"/>
                <a:gd name="connsiteX13" fmla="*/ 144133 w 198388"/>
                <a:gd name="connsiteY13" fmla="*/ 176148 h 225035"/>
                <a:gd name="connsiteX14" fmla="*/ 126893 w 198388"/>
                <a:gd name="connsiteY14" fmla="*/ 186606 h 225035"/>
                <a:gd name="connsiteX15" fmla="*/ 104835 w 198388"/>
                <a:gd name="connsiteY15" fmla="*/ 190134 h 225035"/>
                <a:gd name="connsiteX16" fmla="*/ 72130 w 198388"/>
                <a:gd name="connsiteY16" fmla="*/ 182070 h 225035"/>
                <a:gd name="connsiteX17" fmla="*/ 50453 w 198388"/>
                <a:gd name="connsiteY17" fmla="*/ 158760 h 225035"/>
                <a:gd name="connsiteX18" fmla="*/ 42974 w 198388"/>
                <a:gd name="connsiteY18" fmla="*/ 124614 h 225035"/>
                <a:gd name="connsiteX19" fmla="*/ 198389 w 198388"/>
                <a:gd name="connsiteY19" fmla="*/ 124614 h 225035"/>
                <a:gd name="connsiteX20" fmla="*/ 198389 w 198388"/>
                <a:gd name="connsiteY20" fmla="*/ 109620 h 225035"/>
                <a:gd name="connsiteX21" fmla="*/ 190403 w 198388"/>
                <a:gd name="connsiteY21" fmla="*/ 59220 h 225035"/>
                <a:gd name="connsiteX22" fmla="*/ 168472 w 198388"/>
                <a:gd name="connsiteY22" fmla="*/ 25200 h 225035"/>
                <a:gd name="connsiteX23" fmla="*/ 42974 w 198388"/>
                <a:gd name="connsiteY23" fmla="*/ 92736 h 225035"/>
                <a:gd name="connsiteX24" fmla="*/ 49692 w 198388"/>
                <a:gd name="connsiteY24" fmla="*/ 66402 h 225035"/>
                <a:gd name="connsiteX25" fmla="*/ 70228 w 198388"/>
                <a:gd name="connsiteY25" fmla="*/ 43722 h 225035"/>
                <a:gd name="connsiteX26" fmla="*/ 101539 w 198388"/>
                <a:gd name="connsiteY26" fmla="*/ 35028 h 225035"/>
                <a:gd name="connsiteX27" fmla="*/ 130442 w 198388"/>
                <a:gd name="connsiteY27" fmla="*/ 42588 h 225035"/>
                <a:gd name="connsiteX28" fmla="*/ 149584 w 198388"/>
                <a:gd name="connsiteY28" fmla="*/ 63126 h 225035"/>
                <a:gd name="connsiteX29" fmla="*/ 156429 w 198388"/>
                <a:gd name="connsiteY29" fmla="*/ 92862 h 225035"/>
                <a:gd name="connsiteX30" fmla="*/ 42974 w 198388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8" h="225035">
                  <a:moveTo>
                    <a:pt x="168472" y="25200"/>
                  </a:move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1043" y="189000"/>
                    <a:pt x="33086" y="201978"/>
                    <a:pt x="48551" y="211176"/>
                  </a:cubicBezTo>
                  <a:cubicBezTo>
                    <a:pt x="64144" y="220374"/>
                    <a:pt x="82651" y="225036"/>
                    <a:pt x="104328" y="225036"/>
                  </a:cubicBezTo>
                  <a:cubicBezTo>
                    <a:pt x="120301" y="225036"/>
                    <a:pt x="134499" y="222642"/>
                    <a:pt x="147048" y="217728"/>
                  </a:cubicBezTo>
                  <a:cubicBezTo>
                    <a:pt x="159599" y="212814"/>
                    <a:pt x="169993" y="206010"/>
                    <a:pt x="178233" y="197190"/>
                  </a:cubicBezTo>
                  <a:cubicBezTo>
                    <a:pt x="186600" y="188370"/>
                    <a:pt x="192304" y="178038"/>
                    <a:pt x="195600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5" y="190134"/>
                  </a:cubicBezTo>
                  <a:cubicBezTo>
                    <a:pt x="92412" y="190134"/>
                    <a:pt x="81511" y="187488"/>
                    <a:pt x="72130" y="182070"/>
                  </a:cubicBezTo>
                  <a:cubicBezTo>
                    <a:pt x="62876" y="176778"/>
                    <a:pt x="55523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2" y="66402"/>
                  </a:cubicBezTo>
                  <a:cubicBezTo>
                    <a:pt x="54509" y="57078"/>
                    <a:pt x="61355" y="49518"/>
                    <a:pt x="70228" y="43722"/>
                  </a:cubicBezTo>
                  <a:cubicBezTo>
                    <a:pt x="79102" y="37926"/>
                    <a:pt x="89497" y="35028"/>
                    <a:pt x="101539" y="35028"/>
                  </a:cubicBezTo>
                  <a:cubicBezTo>
                    <a:pt x="112568" y="35028"/>
                    <a:pt x="122202" y="37548"/>
                    <a:pt x="130442" y="42588"/>
                  </a:cubicBezTo>
                  <a:cubicBezTo>
                    <a:pt x="138682" y="47628"/>
                    <a:pt x="145020" y="54432"/>
                    <a:pt x="149584" y="63126"/>
                  </a:cubicBezTo>
                  <a:cubicBezTo>
                    <a:pt x="154147" y="71820"/>
                    <a:pt x="156429" y="81648"/>
                    <a:pt x="156429" y="92862"/>
                  </a:cubicBezTo>
                  <a:lnTo>
                    <a:pt x="42974" y="9286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4" name="Freihandform 171">
              <a:extLst>
                <a:ext uri="{FF2B5EF4-FFF2-40B4-BE49-F238E27FC236}">
                  <a16:creationId xmlns:a16="http://schemas.microsoft.com/office/drawing/2014/main" id="{28E26E24-ADE6-4323-8A1C-D69B91396027}"/>
                </a:ext>
              </a:extLst>
            </p:cNvPr>
            <p:cNvSpPr/>
            <p:nvPr/>
          </p:nvSpPr>
          <p:spPr>
            <a:xfrm>
              <a:off x="8378425" y="3307977"/>
              <a:ext cx="123723" cy="27281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3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3 w 123723"/>
                <a:gd name="connsiteY16" fmla="*/ 247590 h 272810"/>
                <a:gd name="connsiteX17" fmla="*/ 64651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8" y="234738"/>
                    <a:pt x="104456" y="234990"/>
                    <a:pt x="101033" y="234990"/>
                  </a:cubicBezTo>
                  <a:cubicBezTo>
                    <a:pt x="96342" y="234990"/>
                    <a:pt x="92032" y="234234"/>
                    <a:pt x="88103" y="232848"/>
                  </a:cubicBezTo>
                  <a:cubicBezTo>
                    <a:pt x="84173" y="231336"/>
                    <a:pt x="81004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3" y="247590"/>
                  </a:cubicBezTo>
                  <a:cubicBezTo>
                    <a:pt x="47031" y="256284"/>
                    <a:pt x="54890" y="262710"/>
                    <a:pt x="64651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9" y="272160"/>
                    <a:pt x="113202" y="271152"/>
                  </a:cubicBezTo>
                  <a:cubicBezTo>
                    <a:pt x="117766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7" y="233352"/>
                    <a:pt x="112568" y="233730"/>
                    <a:pt x="110033" y="234234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5" name="Freihandform 172">
              <a:extLst>
                <a:ext uri="{FF2B5EF4-FFF2-40B4-BE49-F238E27FC236}">
                  <a16:creationId xmlns:a16="http://schemas.microsoft.com/office/drawing/2014/main" id="{CB951ACA-365B-41E0-A644-319935FAD00F}"/>
                </a:ext>
              </a:extLst>
            </p:cNvPr>
            <p:cNvSpPr/>
            <p:nvPr/>
          </p:nvSpPr>
          <p:spPr>
            <a:xfrm>
              <a:off x="8524460" y="3307977"/>
              <a:ext cx="123723" cy="27281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2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2 w 123723"/>
                <a:gd name="connsiteY16" fmla="*/ 247590 h 272810"/>
                <a:gd name="connsiteX17" fmla="*/ 64650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7" y="234738"/>
                    <a:pt x="104455" y="234990"/>
                    <a:pt x="101033" y="234990"/>
                  </a:cubicBezTo>
                  <a:cubicBezTo>
                    <a:pt x="96342" y="234990"/>
                    <a:pt x="92032" y="234234"/>
                    <a:pt x="88102" y="232848"/>
                  </a:cubicBezTo>
                  <a:cubicBezTo>
                    <a:pt x="84173" y="231336"/>
                    <a:pt x="81003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2" y="247590"/>
                  </a:cubicBezTo>
                  <a:cubicBezTo>
                    <a:pt x="47030" y="256284"/>
                    <a:pt x="54890" y="262710"/>
                    <a:pt x="64650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8" y="272160"/>
                    <a:pt x="113202" y="271152"/>
                  </a:cubicBezTo>
                  <a:cubicBezTo>
                    <a:pt x="117765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6" y="233352"/>
                    <a:pt x="112695" y="233730"/>
                    <a:pt x="110033" y="234234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6" name="Freihandform 173">
              <a:extLst>
                <a:ext uri="{FF2B5EF4-FFF2-40B4-BE49-F238E27FC236}">
                  <a16:creationId xmlns:a16="http://schemas.microsoft.com/office/drawing/2014/main" id="{B3A64658-BF93-4BA5-9FC3-FA31A8C5D360}"/>
                </a:ext>
              </a:extLst>
            </p:cNvPr>
            <p:cNvSpPr/>
            <p:nvPr/>
          </p:nvSpPr>
          <p:spPr>
            <a:xfrm>
              <a:off x="8678227" y="3357243"/>
              <a:ext cx="198389" cy="225035"/>
            </a:xfrm>
            <a:custGeom>
              <a:avLst/>
              <a:gdLst>
                <a:gd name="connsiteX0" fmla="*/ 168472 w 198389"/>
                <a:gd name="connsiteY0" fmla="*/ 25200 h 225035"/>
                <a:gd name="connsiteX1" fmla="*/ 137288 w 198389"/>
                <a:gd name="connsiteY1" fmla="*/ 6048 h 225035"/>
                <a:gd name="connsiteX2" fmla="*/ 101286 w 198389"/>
                <a:gd name="connsiteY2" fmla="*/ 0 h 225035"/>
                <a:gd name="connsiteX3" fmla="*/ 48044 w 198389"/>
                <a:gd name="connsiteY3" fmla="*/ 14364 h 225035"/>
                <a:gd name="connsiteX4" fmla="*/ 12677 w 198389"/>
                <a:gd name="connsiteY4" fmla="*/ 54180 h 225035"/>
                <a:gd name="connsiteX5" fmla="*/ 0 w 198389"/>
                <a:gd name="connsiteY5" fmla="*/ 113148 h 225035"/>
                <a:gd name="connsiteX6" fmla="*/ 12677 w 198389"/>
                <a:gd name="connsiteY6" fmla="*/ 172242 h 225035"/>
                <a:gd name="connsiteX7" fmla="*/ 48552 w 198389"/>
                <a:gd name="connsiteY7" fmla="*/ 211176 h 225035"/>
                <a:gd name="connsiteX8" fmla="*/ 104329 w 198389"/>
                <a:gd name="connsiteY8" fmla="*/ 225036 h 225035"/>
                <a:gd name="connsiteX9" fmla="*/ 147049 w 198389"/>
                <a:gd name="connsiteY9" fmla="*/ 217728 h 225035"/>
                <a:gd name="connsiteX10" fmla="*/ 178234 w 198389"/>
                <a:gd name="connsiteY10" fmla="*/ 197190 h 225035"/>
                <a:gd name="connsiteX11" fmla="*/ 195601 w 198389"/>
                <a:gd name="connsiteY11" fmla="*/ 166194 h 225035"/>
                <a:gd name="connsiteX12" fmla="*/ 155289 w 198389"/>
                <a:gd name="connsiteY12" fmla="*/ 159012 h 225035"/>
                <a:gd name="connsiteX13" fmla="*/ 144133 w 198389"/>
                <a:gd name="connsiteY13" fmla="*/ 176148 h 225035"/>
                <a:gd name="connsiteX14" fmla="*/ 126893 w 198389"/>
                <a:gd name="connsiteY14" fmla="*/ 186606 h 225035"/>
                <a:gd name="connsiteX15" fmla="*/ 104836 w 198389"/>
                <a:gd name="connsiteY15" fmla="*/ 190134 h 225035"/>
                <a:gd name="connsiteX16" fmla="*/ 72130 w 198389"/>
                <a:gd name="connsiteY16" fmla="*/ 182070 h 225035"/>
                <a:gd name="connsiteX17" fmla="*/ 50453 w 198389"/>
                <a:gd name="connsiteY17" fmla="*/ 158760 h 225035"/>
                <a:gd name="connsiteX18" fmla="*/ 42974 w 198389"/>
                <a:gd name="connsiteY18" fmla="*/ 124614 h 225035"/>
                <a:gd name="connsiteX19" fmla="*/ 198389 w 198389"/>
                <a:gd name="connsiteY19" fmla="*/ 124614 h 225035"/>
                <a:gd name="connsiteX20" fmla="*/ 198389 w 198389"/>
                <a:gd name="connsiteY20" fmla="*/ 109620 h 225035"/>
                <a:gd name="connsiteX21" fmla="*/ 190403 w 198389"/>
                <a:gd name="connsiteY21" fmla="*/ 59220 h 225035"/>
                <a:gd name="connsiteX22" fmla="*/ 168472 w 198389"/>
                <a:gd name="connsiteY22" fmla="*/ 25200 h 225035"/>
                <a:gd name="connsiteX23" fmla="*/ 42974 w 198389"/>
                <a:gd name="connsiteY23" fmla="*/ 92736 h 225035"/>
                <a:gd name="connsiteX24" fmla="*/ 49693 w 198389"/>
                <a:gd name="connsiteY24" fmla="*/ 66402 h 225035"/>
                <a:gd name="connsiteX25" fmla="*/ 70229 w 198389"/>
                <a:gd name="connsiteY25" fmla="*/ 43722 h 225035"/>
                <a:gd name="connsiteX26" fmla="*/ 101540 w 198389"/>
                <a:gd name="connsiteY26" fmla="*/ 35028 h 225035"/>
                <a:gd name="connsiteX27" fmla="*/ 130443 w 198389"/>
                <a:gd name="connsiteY27" fmla="*/ 42588 h 225035"/>
                <a:gd name="connsiteX28" fmla="*/ 149584 w 198389"/>
                <a:gd name="connsiteY28" fmla="*/ 63126 h 225035"/>
                <a:gd name="connsiteX29" fmla="*/ 156430 w 198389"/>
                <a:gd name="connsiteY29" fmla="*/ 92862 h 225035"/>
                <a:gd name="connsiteX30" fmla="*/ 42974 w 198389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9" h="225035">
                  <a:moveTo>
                    <a:pt x="168472" y="25200"/>
                  </a:move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9000"/>
                    <a:pt x="33086" y="201978"/>
                    <a:pt x="48552" y="211176"/>
                  </a:cubicBezTo>
                  <a:cubicBezTo>
                    <a:pt x="64144" y="220374"/>
                    <a:pt x="82652" y="225036"/>
                    <a:pt x="104329" y="225036"/>
                  </a:cubicBezTo>
                  <a:cubicBezTo>
                    <a:pt x="120301" y="225036"/>
                    <a:pt x="134499" y="222642"/>
                    <a:pt x="147049" y="217728"/>
                  </a:cubicBezTo>
                  <a:cubicBezTo>
                    <a:pt x="159599" y="212814"/>
                    <a:pt x="169993" y="206010"/>
                    <a:pt x="178234" y="197190"/>
                  </a:cubicBezTo>
                  <a:cubicBezTo>
                    <a:pt x="186600" y="188370"/>
                    <a:pt x="192304" y="178038"/>
                    <a:pt x="195601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6" y="190134"/>
                  </a:cubicBezTo>
                  <a:cubicBezTo>
                    <a:pt x="92413" y="190134"/>
                    <a:pt x="81511" y="187488"/>
                    <a:pt x="72130" y="182070"/>
                  </a:cubicBezTo>
                  <a:cubicBezTo>
                    <a:pt x="62876" y="176778"/>
                    <a:pt x="55524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3" y="66402"/>
                  </a:cubicBezTo>
                  <a:cubicBezTo>
                    <a:pt x="54510" y="57078"/>
                    <a:pt x="61355" y="49518"/>
                    <a:pt x="70229" y="43722"/>
                  </a:cubicBezTo>
                  <a:cubicBezTo>
                    <a:pt x="79102" y="37926"/>
                    <a:pt x="89497" y="35028"/>
                    <a:pt x="101540" y="35028"/>
                  </a:cubicBezTo>
                  <a:cubicBezTo>
                    <a:pt x="112568" y="35028"/>
                    <a:pt x="122203" y="37548"/>
                    <a:pt x="130443" y="42588"/>
                  </a:cubicBezTo>
                  <a:cubicBezTo>
                    <a:pt x="138682" y="47628"/>
                    <a:pt x="145021" y="54432"/>
                    <a:pt x="149584" y="63126"/>
                  </a:cubicBezTo>
                  <a:cubicBezTo>
                    <a:pt x="154148" y="71820"/>
                    <a:pt x="156430" y="81648"/>
                    <a:pt x="156430" y="92862"/>
                  </a:cubicBezTo>
                  <a:lnTo>
                    <a:pt x="42974" y="9286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7" name="Freihandform 174">
              <a:extLst>
                <a:ext uri="{FF2B5EF4-FFF2-40B4-BE49-F238E27FC236}">
                  <a16:creationId xmlns:a16="http://schemas.microsoft.com/office/drawing/2014/main" id="{70846D43-1AA3-46AE-A131-3960116669EA}"/>
                </a:ext>
              </a:extLst>
            </p:cNvPr>
            <p:cNvSpPr/>
            <p:nvPr/>
          </p:nvSpPr>
          <p:spPr>
            <a:xfrm>
              <a:off x="8920858" y="3356739"/>
              <a:ext cx="117258" cy="220877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8" name="Freihandform 175">
              <a:extLst>
                <a:ext uri="{FF2B5EF4-FFF2-40B4-BE49-F238E27FC236}">
                  <a16:creationId xmlns:a16="http://schemas.microsoft.com/office/drawing/2014/main" id="{9D4BA814-ACD9-43ED-9942-88AEA62D8351}"/>
                </a:ext>
              </a:extLst>
            </p:cNvPr>
            <p:cNvSpPr/>
            <p:nvPr/>
          </p:nvSpPr>
          <p:spPr>
            <a:xfrm>
              <a:off x="6931516" y="3766742"/>
              <a:ext cx="307914" cy="217854"/>
            </a:xfrm>
            <a:custGeom>
              <a:avLst/>
              <a:gdLst>
                <a:gd name="connsiteX0" fmla="*/ 221207 w 307914"/>
                <a:gd name="connsiteY0" fmla="*/ 159264 h 217854"/>
                <a:gd name="connsiteX1" fmla="*/ 219052 w 307914"/>
                <a:gd name="connsiteY1" fmla="*/ 159264 h 217854"/>
                <a:gd name="connsiteX2" fmla="*/ 176205 w 307914"/>
                <a:gd name="connsiteY2" fmla="*/ 0 h 217854"/>
                <a:gd name="connsiteX3" fmla="*/ 132217 w 307914"/>
                <a:gd name="connsiteY3" fmla="*/ 0 h 217854"/>
                <a:gd name="connsiteX4" fmla="*/ 89117 w 307914"/>
                <a:gd name="connsiteY4" fmla="*/ 159894 h 217854"/>
                <a:gd name="connsiteX5" fmla="*/ 86961 w 307914"/>
                <a:gd name="connsiteY5" fmla="*/ 159894 h 217854"/>
                <a:gd name="connsiteX6" fmla="*/ 43988 w 307914"/>
                <a:gd name="connsiteY6" fmla="*/ 0 h 217854"/>
                <a:gd name="connsiteX7" fmla="*/ 0 w 307914"/>
                <a:gd name="connsiteY7" fmla="*/ 0 h 217854"/>
                <a:gd name="connsiteX8" fmla="*/ 64397 w 307914"/>
                <a:gd name="connsiteY8" fmla="*/ 217854 h 217854"/>
                <a:gd name="connsiteX9" fmla="*/ 107751 w 307914"/>
                <a:gd name="connsiteY9" fmla="*/ 217854 h 217854"/>
                <a:gd name="connsiteX10" fmla="*/ 152246 w 307914"/>
                <a:gd name="connsiteY10" fmla="*/ 60606 h 217854"/>
                <a:gd name="connsiteX11" fmla="*/ 155542 w 307914"/>
                <a:gd name="connsiteY11" fmla="*/ 60606 h 217854"/>
                <a:gd name="connsiteX12" fmla="*/ 200037 w 307914"/>
                <a:gd name="connsiteY12" fmla="*/ 217854 h 217854"/>
                <a:gd name="connsiteX13" fmla="*/ 243518 w 307914"/>
                <a:gd name="connsiteY13" fmla="*/ 217854 h 217854"/>
                <a:gd name="connsiteX14" fmla="*/ 307915 w 307914"/>
                <a:gd name="connsiteY14" fmla="*/ 0 h 217854"/>
                <a:gd name="connsiteX15" fmla="*/ 263800 w 307914"/>
                <a:gd name="connsiteY15" fmla="*/ 0 h 21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7914" h="217854">
                  <a:moveTo>
                    <a:pt x="221207" y="159264"/>
                  </a:moveTo>
                  <a:lnTo>
                    <a:pt x="219052" y="159264"/>
                  </a:lnTo>
                  <a:lnTo>
                    <a:pt x="176205" y="0"/>
                  </a:lnTo>
                  <a:lnTo>
                    <a:pt x="132217" y="0"/>
                  </a:lnTo>
                  <a:lnTo>
                    <a:pt x="89117" y="159894"/>
                  </a:lnTo>
                  <a:lnTo>
                    <a:pt x="86961" y="159894"/>
                  </a:lnTo>
                  <a:lnTo>
                    <a:pt x="43988" y="0"/>
                  </a:lnTo>
                  <a:lnTo>
                    <a:pt x="0" y="0"/>
                  </a:lnTo>
                  <a:lnTo>
                    <a:pt x="64397" y="217854"/>
                  </a:lnTo>
                  <a:lnTo>
                    <a:pt x="107751" y="217854"/>
                  </a:lnTo>
                  <a:lnTo>
                    <a:pt x="152246" y="60606"/>
                  </a:lnTo>
                  <a:lnTo>
                    <a:pt x="155542" y="60606"/>
                  </a:lnTo>
                  <a:lnTo>
                    <a:pt x="200037" y="217854"/>
                  </a:lnTo>
                  <a:lnTo>
                    <a:pt x="243518" y="217854"/>
                  </a:lnTo>
                  <a:lnTo>
                    <a:pt x="307915" y="0"/>
                  </a:lnTo>
                  <a:lnTo>
                    <a:pt x="263800" y="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9" name="Freihandform 176">
              <a:extLst>
                <a:ext uri="{FF2B5EF4-FFF2-40B4-BE49-F238E27FC236}">
                  <a16:creationId xmlns:a16="http://schemas.microsoft.com/office/drawing/2014/main" id="{B201B25F-8CBA-471D-89C7-653A75F848BD}"/>
                </a:ext>
              </a:extLst>
            </p:cNvPr>
            <p:cNvSpPr/>
            <p:nvPr/>
          </p:nvSpPr>
          <p:spPr>
            <a:xfrm>
              <a:off x="7263770" y="3763970"/>
              <a:ext cx="204093" cy="224910"/>
            </a:xfrm>
            <a:custGeom>
              <a:avLst/>
              <a:gdLst>
                <a:gd name="connsiteX0" fmla="*/ 155796 w 204093"/>
                <a:gd name="connsiteY0" fmla="*/ 13986 h 224910"/>
                <a:gd name="connsiteX1" fmla="*/ 102047 w 204093"/>
                <a:gd name="connsiteY1" fmla="*/ 0 h 224910"/>
                <a:gd name="connsiteX2" fmla="*/ 48298 w 204093"/>
                <a:gd name="connsiteY2" fmla="*/ 13986 h 224910"/>
                <a:gd name="connsiteX3" fmla="*/ 12677 w 204093"/>
                <a:gd name="connsiteY3" fmla="*/ 53424 h 224910"/>
                <a:gd name="connsiteX4" fmla="*/ 0 w 204093"/>
                <a:gd name="connsiteY4" fmla="*/ 112644 h 224910"/>
                <a:gd name="connsiteX5" fmla="*/ 12677 w 204093"/>
                <a:gd name="connsiteY5" fmla="*/ 171612 h 224910"/>
                <a:gd name="connsiteX6" fmla="*/ 48298 w 204093"/>
                <a:gd name="connsiteY6" fmla="*/ 210924 h 224910"/>
                <a:gd name="connsiteX7" fmla="*/ 102047 w 204093"/>
                <a:gd name="connsiteY7" fmla="*/ 224910 h 224910"/>
                <a:gd name="connsiteX8" fmla="*/ 155796 w 204093"/>
                <a:gd name="connsiteY8" fmla="*/ 210924 h 224910"/>
                <a:gd name="connsiteX9" fmla="*/ 191417 w 204093"/>
                <a:gd name="connsiteY9" fmla="*/ 171612 h 224910"/>
                <a:gd name="connsiteX10" fmla="*/ 204094 w 204093"/>
                <a:gd name="connsiteY10" fmla="*/ 112644 h 224910"/>
                <a:gd name="connsiteX11" fmla="*/ 191417 w 204093"/>
                <a:gd name="connsiteY11" fmla="*/ 53424 h 224910"/>
                <a:gd name="connsiteX12" fmla="*/ 155796 w 204093"/>
                <a:gd name="connsiteY12" fmla="*/ 13986 h 224910"/>
                <a:gd name="connsiteX13" fmla="*/ 154655 w 204093"/>
                <a:gd name="connsiteY13" fmla="*/ 150948 h 224910"/>
                <a:gd name="connsiteX14" fmla="*/ 135133 w 204093"/>
                <a:gd name="connsiteY14" fmla="*/ 178920 h 224910"/>
                <a:gd name="connsiteX15" fmla="*/ 102047 w 204093"/>
                <a:gd name="connsiteY15" fmla="*/ 189378 h 224910"/>
                <a:gd name="connsiteX16" fmla="*/ 68707 w 204093"/>
                <a:gd name="connsiteY16" fmla="*/ 178920 h 224910"/>
                <a:gd name="connsiteX17" fmla="*/ 49185 w 204093"/>
                <a:gd name="connsiteY17" fmla="*/ 150948 h 224910"/>
                <a:gd name="connsiteX18" fmla="*/ 42847 w 204093"/>
                <a:gd name="connsiteY18" fmla="*/ 112518 h 224910"/>
                <a:gd name="connsiteX19" fmla="*/ 49185 w 204093"/>
                <a:gd name="connsiteY19" fmla="*/ 74214 h 224910"/>
                <a:gd name="connsiteX20" fmla="*/ 68707 w 204093"/>
                <a:gd name="connsiteY20" fmla="*/ 46116 h 224910"/>
                <a:gd name="connsiteX21" fmla="*/ 102047 w 204093"/>
                <a:gd name="connsiteY21" fmla="*/ 35532 h 224910"/>
                <a:gd name="connsiteX22" fmla="*/ 135133 w 204093"/>
                <a:gd name="connsiteY22" fmla="*/ 46116 h 224910"/>
                <a:gd name="connsiteX23" fmla="*/ 154655 w 204093"/>
                <a:gd name="connsiteY23" fmla="*/ 74214 h 224910"/>
                <a:gd name="connsiteX24" fmla="*/ 160993 w 204093"/>
                <a:gd name="connsiteY24" fmla="*/ 112518 h 224910"/>
                <a:gd name="connsiteX25" fmla="*/ 154655 w 204093"/>
                <a:gd name="connsiteY25" fmla="*/ 150948 h 224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10">
                  <a:moveTo>
                    <a:pt x="155796" y="13986"/>
                  </a:move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6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3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6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0" y="154854"/>
                    <a:pt x="204094" y="135072"/>
                    <a:pt x="204094" y="112644"/>
                  </a:cubicBezTo>
                  <a:cubicBezTo>
                    <a:pt x="204094" y="90090"/>
                    <a:pt x="199910" y="70308"/>
                    <a:pt x="191417" y="53424"/>
                  </a:cubicBezTo>
                  <a:cubicBezTo>
                    <a:pt x="182924" y="36540"/>
                    <a:pt x="171007" y="23310"/>
                    <a:pt x="155796" y="13986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09" y="189378"/>
                    <a:pt x="77581" y="185850"/>
                    <a:pt x="68707" y="178920"/>
                  </a:cubicBezTo>
                  <a:cubicBezTo>
                    <a:pt x="59961" y="171990"/>
                    <a:pt x="53368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8" y="62496"/>
                    <a:pt x="59961" y="53172"/>
                    <a:pt x="68707" y="46116"/>
                  </a:cubicBezTo>
                  <a:cubicBezTo>
                    <a:pt x="77454" y="39060"/>
                    <a:pt x="88609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40" name="Freihandform 177">
              <a:extLst>
                <a:ext uri="{FF2B5EF4-FFF2-40B4-BE49-F238E27FC236}">
                  <a16:creationId xmlns:a16="http://schemas.microsoft.com/office/drawing/2014/main" id="{367348F6-FDD3-43E1-9597-AB00371D537D}"/>
                </a:ext>
              </a:extLst>
            </p:cNvPr>
            <p:cNvSpPr/>
            <p:nvPr/>
          </p:nvSpPr>
          <p:spPr>
            <a:xfrm>
              <a:off x="7515782" y="3763467"/>
              <a:ext cx="117258" cy="220877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41" name="Freihandform 178">
              <a:extLst>
                <a:ext uri="{FF2B5EF4-FFF2-40B4-BE49-F238E27FC236}">
                  <a16:creationId xmlns:a16="http://schemas.microsoft.com/office/drawing/2014/main" id="{DBE65B5B-CA5C-4C31-B67D-A65E7D7C3248}"/>
                </a:ext>
              </a:extLst>
            </p:cNvPr>
            <p:cNvSpPr/>
            <p:nvPr/>
          </p:nvSpPr>
          <p:spPr>
            <a:xfrm>
              <a:off x="7670436" y="3694167"/>
              <a:ext cx="42720" cy="290304"/>
            </a:xfrm>
            <a:custGeom>
              <a:avLst/>
              <a:gdLst>
                <a:gd name="connsiteX0" fmla="*/ 0 w 42720"/>
                <a:gd name="connsiteY0" fmla="*/ 0 h 290304"/>
                <a:gd name="connsiteX1" fmla="*/ 42720 w 42720"/>
                <a:gd name="connsiteY1" fmla="*/ 0 h 290304"/>
                <a:gd name="connsiteX2" fmla="*/ 42720 w 42720"/>
                <a:gd name="connsiteY2" fmla="*/ 290304 h 290304"/>
                <a:gd name="connsiteX3" fmla="*/ 0 w 42720"/>
                <a:gd name="connsiteY3" fmla="*/ 290304 h 29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90304">
                  <a:moveTo>
                    <a:pt x="0" y="0"/>
                  </a:moveTo>
                  <a:lnTo>
                    <a:pt x="42720" y="0"/>
                  </a:lnTo>
                  <a:lnTo>
                    <a:pt x="42720" y="290304"/>
                  </a:lnTo>
                  <a:lnTo>
                    <a:pt x="0" y="290304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42" name="Freihandform 179">
              <a:extLst>
                <a:ext uri="{FF2B5EF4-FFF2-40B4-BE49-F238E27FC236}">
                  <a16:creationId xmlns:a16="http://schemas.microsoft.com/office/drawing/2014/main" id="{D7A19EE3-8A83-4A8C-BA3B-F386AC00EC1A}"/>
                </a:ext>
              </a:extLst>
            </p:cNvPr>
            <p:cNvSpPr/>
            <p:nvPr/>
          </p:nvSpPr>
          <p:spPr>
            <a:xfrm>
              <a:off x="7761328" y="3694167"/>
              <a:ext cx="200290" cy="294587"/>
            </a:xfrm>
            <a:custGeom>
              <a:avLst/>
              <a:gdLst>
                <a:gd name="connsiteX0" fmla="*/ 157444 w 200290"/>
                <a:gd name="connsiteY0" fmla="*/ 107856 h 294587"/>
                <a:gd name="connsiteX1" fmla="*/ 154908 w 200290"/>
                <a:gd name="connsiteY1" fmla="*/ 107856 h 294587"/>
                <a:gd name="connsiteX2" fmla="*/ 144133 w 200290"/>
                <a:gd name="connsiteY2" fmla="*/ 92106 h 294587"/>
                <a:gd name="connsiteX3" fmla="*/ 124738 w 200290"/>
                <a:gd name="connsiteY3" fmla="*/ 76482 h 294587"/>
                <a:gd name="connsiteX4" fmla="*/ 91905 w 200290"/>
                <a:gd name="connsiteY4" fmla="*/ 69804 h 294587"/>
                <a:gd name="connsiteX5" fmla="*/ 44622 w 200290"/>
                <a:gd name="connsiteY5" fmla="*/ 83160 h 294587"/>
                <a:gd name="connsiteX6" fmla="*/ 11916 w 200290"/>
                <a:gd name="connsiteY6" fmla="*/ 121590 h 294587"/>
                <a:gd name="connsiteX7" fmla="*/ 0 w 200290"/>
                <a:gd name="connsiteY7" fmla="*/ 181944 h 294587"/>
                <a:gd name="connsiteX8" fmla="*/ 11789 w 200290"/>
                <a:gd name="connsiteY8" fmla="*/ 242424 h 294587"/>
                <a:gd name="connsiteX9" fmla="*/ 44368 w 200290"/>
                <a:gd name="connsiteY9" fmla="*/ 281106 h 294587"/>
                <a:gd name="connsiteX10" fmla="*/ 91652 w 200290"/>
                <a:gd name="connsiteY10" fmla="*/ 294588 h 294587"/>
                <a:gd name="connsiteX11" fmla="*/ 124231 w 200290"/>
                <a:gd name="connsiteY11" fmla="*/ 287910 h 294587"/>
                <a:gd name="connsiteX12" fmla="*/ 144006 w 200290"/>
                <a:gd name="connsiteY12" fmla="*/ 272286 h 294587"/>
                <a:gd name="connsiteX13" fmla="*/ 155035 w 200290"/>
                <a:gd name="connsiteY13" fmla="*/ 256410 h 294587"/>
                <a:gd name="connsiteX14" fmla="*/ 158585 w 200290"/>
                <a:gd name="connsiteY14" fmla="*/ 256410 h 294587"/>
                <a:gd name="connsiteX15" fmla="*/ 158585 w 200290"/>
                <a:gd name="connsiteY15" fmla="*/ 290304 h 294587"/>
                <a:gd name="connsiteX16" fmla="*/ 200290 w 200290"/>
                <a:gd name="connsiteY16" fmla="*/ 290304 h 294587"/>
                <a:gd name="connsiteX17" fmla="*/ 200290 w 200290"/>
                <a:gd name="connsiteY17" fmla="*/ 0 h 294587"/>
                <a:gd name="connsiteX18" fmla="*/ 157570 w 200290"/>
                <a:gd name="connsiteY18" fmla="*/ 0 h 294587"/>
                <a:gd name="connsiteX19" fmla="*/ 157570 w 200290"/>
                <a:gd name="connsiteY19" fmla="*/ 107856 h 294587"/>
                <a:gd name="connsiteX20" fmla="*/ 151612 w 200290"/>
                <a:gd name="connsiteY20" fmla="*/ 221760 h 294587"/>
                <a:gd name="connsiteX21" fmla="*/ 132217 w 200290"/>
                <a:gd name="connsiteY21" fmla="*/ 248724 h 294587"/>
                <a:gd name="connsiteX22" fmla="*/ 101033 w 200290"/>
                <a:gd name="connsiteY22" fmla="*/ 258426 h 294587"/>
                <a:gd name="connsiteX23" fmla="*/ 69214 w 200290"/>
                <a:gd name="connsiteY23" fmla="*/ 248346 h 294587"/>
                <a:gd name="connsiteX24" fmla="*/ 49819 w 200290"/>
                <a:gd name="connsiteY24" fmla="*/ 220752 h 294587"/>
                <a:gd name="connsiteX25" fmla="*/ 43227 w 200290"/>
                <a:gd name="connsiteY25" fmla="*/ 181440 h 294587"/>
                <a:gd name="connsiteX26" fmla="*/ 49693 w 200290"/>
                <a:gd name="connsiteY26" fmla="*/ 142758 h 294587"/>
                <a:gd name="connsiteX27" fmla="*/ 68961 w 200290"/>
                <a:gd name="connsiteY27" fmla="*/ 115668 h 294587"/>
                <a:gd name="connsiteX28" fmla="*/ 101033 w 200290"/>
                <a:gd name="connsiteY28" fmla="*/ 105714 h 294587"/>
                <a:gd name="connsiteX29" fmla="*/ 132471 w 200290"/>
                <a:gd name="connsiteY29" fmla="*/ 115164 h 294587"/>
                <a:gd name="connsiteX30" fmla="*/ 151739 w 200290"/>
                <a:gd name="connsiteY30" fmla="*/ 141624 h 294587"/>
                <a:gd name="connsiteX31" fmla="*/ 158331 w 200290"/>
                <a:gd name="connsiteY31" fmla="*/ 181314 h 294587"/>
                <a:gd name="connsiteX32" fmla="*/ 151612 w 200290"/>
                <a:gd name="connsiteY32" fmla="*/ 221760 h 29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290" h="294587">
                  <a:moveTo>
                    <a:pt x="157444" y="107856"/>
                  </a:moveTo>
                  <a:lnTo>
                    <a:pt x="154908" y="107856"/>
                  </a:lnTo>
                  <a:cubicBezTo>
                    <a:pt x="152373" y="103320"/>
                    <a:pt x="148697" y="98028"/>
                    <a:pt x="144133" y="92106"/>
                  </a:cubicBezTo>
                  <a:cubicBezTo>
                    <a:pt x="139443" y="86184"/>
                    <a:pt x="132978" y="80892"/>
                    <a:pt x="124738" y="76482"/>
                  </a:cubicBezTo>
                  <a:cubicBezTo>
                    <a:pt x="116371" y="71946"/>
                    <a:pt x="105470" y="69804"/>
                    <a:pt x="91905" y="69804"/>
                  </a:cubicBezTo>
                  <a:cubicBezTo>
                    <a:pt x="74285" y="69804"/>
                    <a:pt x="58566" y="74214"/>
                    <a:pt x="44622" y="83160"/>
                  </a:cubicBezTo>
                  <a:cubicBezTo>
                    <a:pt x="30678" y="92106"/>
                    <a:pt x="19775" y="104832"/>
                    <a:pt x="11916" y="121590"/>
                  </a:cubicBezTo>
                  <a:cubicBezTo>
                    <a:pt x="3930" y="138348"/>
                    <a:pt x="0" y="158508"/>
                    <a:pt x="0" y="181944"/>
                  </a:cubicBezTo>
                  <a:cubicBezTo>
                    <a:pt x="0" y="205506"/>
                    <a:pt x="3930" y="225666"/>
                    <a:pt x="11789" y="242424"/>
                  </a:cubicBezTo>
                  <a:cubicBezTo>
                    <a:pt x="19649" y="259182"/>
                    <a:pt x="30424" y="272034"/>
                    <a:pt x="44368" y="281106"/>
                  </a:cubicBezTo>
                  <a:cubicBezTo>
                    <a:pt x="58186" y="290178"/>
                    <a:pt x="73905" y="294588"/>
                    <a:pt x="91652" y="294588"/>
                  </a:cubicBezTo>
                  <a:cubicBezTo>
                    <a:pt x="104962" y="294588"/>
                    <a:pt x="115738" y="292320"/>
                    <a:pt x="124231" y="287910"/>
                  </a:cubicBezTo>
                  <a:cubicBezTo>
                    <a:pt x="132597" y="283500"/>
                    <a:pt x="139189" y="278208"/>
                    <a:pt x="144006" y="272286"/>
                  </a:cubicBezTo>
                  <a:cubicBezTo>
                    <a:pt x="148823" y="266364"/>
                    <a:pt x="152500" y="261072"/>
                    <a:pt x="155035" y="256410"/>
                  </a:cubicBezTo>
                  <a:lnTo>
                    <a:pt x="158585" y="256410"/>
                  </a:lnTo>
                  <a:lnTo>
                    <a:pt x="158585" y="290304"/>
                  </a:lnTo>
                  <a:lnTo>
                    <a:pt x="200290" y="290304"/>
                  </a:lnTo>
                  <a:lnTo>
                    <a:pt x="200290" y="0"/>
                  </a:lnTo>
                  <a:lnTo>
                    <a:pt x="157570" y="0"/>
                  </a:lnTo>
                  <a:lnTo>
                    <a:pt x="157570" y="107856"/>
                  </a:lnTo>
                  <a:close/>
                  <a:moveTo>
                    <a:pt x="151612" y="221760"/>
                  </a:moveTo>
                  <a:cubicBezTo>
                    <a:pt x="147175" y="233226"/>
                    <a:pt x="140711" y="242298"/>
                    <a:pt x="132217" y="248724"/>
                  </a:cubicBezTo>
                  <a:cubicBezTo>
                    <a:pt x="123724" y="255150"/>
                    <a:pt x="113329" y="258426"/>
                    <a:pt x="101033" y="258426"/>
                  </a:cubicBezTo>
                  <a:cubicBezTo>
                    <a:pt x="88356" y="258426"/>
                    <a:pt x="77708" y="255024"/>
                    <a:pt x="69214" y="248346"/>
                  </a:cubicBezTo>
                  <a:cubicBezTo>
                    <a:pt x="60594" y="241542"/>
                    <a:pt x="54129" y="232344"/>
                    <a:pt x="49819" y="220752"/>
                  </a:cubicBezTo>
                  <a:cubicBezTo>
                    <a:pt x="45382" y="209160"/>
                    <a:pt x="43227" y="196056"/>
                    <a:pt x="43227" y="181440"/>
                  </a:cubicBezTo>
                  <a:cubicBezTo>
                    <a:pt x="43227" y="167076"/>
                    <a:pt x="45382" y="154224"/>
                    <a:pt x="49693" y="142758"/>
                  </a:cubicBezTo>
                  <a:cubicBezTo>
                    <a:pt x="54003" y="131292"/>
                    <a:pt x="60467" y="122346"/>
                    <a:pt x="68961" y="115668"/>
                  </a:cubicBezTo>
                  <a:cubicBezTo>
                    <a:pt x="77454" y="108990"/>
                    <a:pt x="88229" y="105714"/>
                    <a:pt x="101033" y="105714"/>
                  </a:cubicBezTo>
                  <a:cubicBezTo>
                    <a:pt x="113456" y="105714"/>
                    <a:pt x="123977" y="108864"/>
                    <a:pt x="132471" y="115164"/>
                  </a:cubicBezTo>
                  <a:cubicBezTo>
                    <a:pt x="140964" y="121464"/>
                    <a:pt x="147302" y="130284"/>
                    <a:pt x="151739" y="141624"/>
                  </a:cubicBezTo>
                  <a:cubicBezTo>
                    <a:pt x="156049" y="152964"/>
                    <a:pt x="158331" y="166194"/>
                    <a:pt x="158331" y="181314"/>
                  </a:cubicBezTo>
                  <a:cubicBezTo>
                    <a:pt x="158204" y="196812"/>
                    <a:pt x="156049" y="210168"/>
                    <a:pt x="151612" y="22176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47" name="Freihandform 180">
              <a:extLst>
                <a:ext uri="{FF2B5EF4-FFF2-40B4-BE49-F238E27FC236}">
                  <a16:creationId xmlns:a16="http://schemas.microsoft.com/office/drawing/2014/main" id="{721CEA33-54CD-4866-BF78-AC672DEE72B4}"/>
                </a:ext>
              </a:extLst>
            </p:cNvPr>
            <p:cNvSpPr/>
            <p:nvPr/>
          </p:nvSpPr>
          <p:spPr>
            <a:xfrm>
              <a:off x="8022339" y="3930669"/>
              <a:ext cx="57044" cy="56573"/>
            </a:xfrm>
            <a:custGeom>
              <a:avLst/>
              <a:gdLst>
                <a:gd name="connsiteX0" fmla="*/ 28395 w 57044"/>
                <a:gd name="connsiteY0" fmla="*/ 0 h 56573"/>
                <a:gd name="connsiteX1" fmla="*/ 8367 w 57044"/>
                <a:gd name="connsiteY1" fmla="*/ 8316 h 56573"/>
                <a:gd name="connsiteX2" fmla="*/ 0 w 57044"/>
                <a:gd name="connsiteY2" fmla="*/ 28224 h 56573"/>
                <a:gd name="connsiteX3" fmla="*/ 8367 w 57044"/>
                <a:gd name="connsiteY3" fmla="*/ 48258 h 56573"/>
                <a:gd name="connsiteX4" fmla="*/ 28395 w 57044"/>
                <a:gd name="connsiteY4" fmla="*/ 56574 h 56573"/>
                <a:gd name="connsiteX5" fmla="*/ 42720 w 57044"/>
                <a:gd name="connsiteY5" fmla="*/ 52794 h 56573"/>
                <a:gd name="connsiteX6" fmla="*/ 53115 w 57044"/>
                <a:gd name="connsiteY6" fmla="*/ 42462 h 56573"/>
                <a:gd name="connsiteX7" fmla="*/ 57045 w 57044"/>
                <a:gd name="connsiteY7" fmla="*/ 28224 h 56573"/>
                <a:gd name="connsiteX8" fmla="*/ 48678 w 57044"/>
                <a:gd name="connsiteY8" fmla="*/ 8316 h 56573"/>
                <a:gd name="connsiteX9" fmla="*/ 28395 w 57044"/>
                <a:gd name="connsiteY9" fmla="*/ 0 h 5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44" h="56573">
                  <a:moveTo>
                    <a:pt x="28395" y="0"/>
                  </a:moveTo>
                  <a:cubicBezTo>
                    <a:pt x="20663" y="0"/>
                    <a:pt x="13944" y="2772"/>
                    <a:pt x="8367" y="8316"/>
                  </a:cubicBezTo>
                  <a:cubicBezTo>
                    <a:pt x="2789" y="13860"/>
                    <a:pt x="0" y="20538"/>
                    <a:pt x="0" y="28224"/>
                  </a:cubicBezTo>
                  <a:cubicBezTo>
                    <a:pt x="0" y="36036"/>
                    <a:pt x="2789" y="42714"/>
                    <a:pt x="8367" y="48258"/>
                  </a:cubicBezTo>
                  <a:cubicBezTo>
                    <a:pt x="13944" y="53802"/>
                    <a:pt x="20663" y="56574"/>
                    <a:pt x="28395" y="56574"/>
                  </a:cubicBezTo>
                  <a:cubicBezTo>
                    <a:pt x="33593" y="56574"/>
                    <a:pt x="38410" y="55314"/>
                    <a:pt x="42720" y="52794"/>
                  </a:cubicBezTo>
                  <a:cubicBezTo>
                    <a:pt x="47030" y="50274"/>
                    <a:pt x="50453" y="46872"/>
                    <a:pt x="53115" y="42462"/>
                  </a:cubicBezTo>
                  <a:cubicBezTo>
                    <a:pt x="55777" y="38178"/>
                    <a:pt x="57045" y="33390"/>
                    <a:pt x="57045" y="28224"/>
                  </a:cubicBezTo>
                  <a:cubicBezTo>
                    <a:pt x="57045" y="20412"/>
                    <a:pt x="54256" y="13860"/>
                    <a:pt x="48678" y="8316"/>
                  </a:cubicBezTo>
                  <a:cubicBezTo>
                    <a:pt x="42847" y="2772"/>
                    <a:pt x="36128" y="0"/>
                    <a:pt x="28395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43B18006-68CE-4C63-8A29-74153CE8E043}"/>
              </a:ext>
            </a:extLst>
          </p:cNvPr>
          <p:cNvSpPr txBox="1">
            <a:spLocks/>
          </p:cNvSpPr>
          <p:nvPr/>
        </p:nvSpPr>
        <p:spPr bwMode="gray">
          <a:xfrm>
            <a:off x="263525" y="6243529"/>
            <a:ext cx="1166495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3000" b="0" i="0" kern="1200">
                <a:solidFill>
                  <a:schemeClr val="tx1"/>
                </a:solidFill>
                <a:latin typeface="Inter Light" panose="02000403000000020004" pitchFamily="2" charset="0"/>
                <a:ea typeface="Inter Light" panose="02000403000000020004" pitchFamily="2" charset="0"/>
                <a:cs typeface="Inter Light" panose="02000403000000020004" pitchFamily="2" charset="0"/>
              </a:defRPr>
            </a:lvl1pPr>
            <a:lvl2pPr marL="4572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Symbol" pitchFamily="2" charset="2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buFont typeface="Symbol" pitchFamily="2" charset="2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r>
              <a:rPr lang="en-US" sz="1200">
                <a:solidFill>
                  <a:schemeClr val="accent1"/>
                </a:solidFill>
                <a:latin typeface="+mn-lt"/>
                <a:ea typeface="Inter Medium" panose="02000603000000020004" pitchFamily="2" charset="0"/>
                <a:cs typeface="Inter Medium" panose="02000603000000020004" pitchFamily="2" charset="0"/>
              </a:rPr>
              <a:t>GEA.com</a:t>
            </a:r>
          </a:p>
        </p:txBody>
      </p:sp>
    </p:spTree>
    <p:extLst>
      <p:ext uri="{BB962C8B-B14F-4D97-AF65-F5344CB8AC3E}">
        <p14:creationId xmlns:p14="http://schemas.microsoft.com/office/powerpoint/2010/main" val="38014156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sz="quarter" idx="12"/>
          </p:nvPr>
        </p:nvSpPr>
        <p:spPr>
          <a:xfrm>
            <a:off x="431799" y="1236135"/>
            <a:ext cx="10847919" cy="5073649"/>
          </a:xfrm>
        </p:spPr>
        <p:txBody>
          <a:bodyPr/>
          <a:lstStyle>
            <a:lvl1pPr>
              <a:defRPr sz="1867"/>
            </a:lvl1pPr>
            <a:lvl2pPr marL="479976" indent="-241289">
              <a:buFont typeface="Symbol" panose="05050102010706020507" pitchFamily="18" charset="2"/>
              <a:buChar char="-"/>
              <a:defRPr sz="1867"/>
            </a:lvl2pPr>
            <a:lvl3pPr>
              <a:defRPr sz="1467"/>
            </a:lvl3pPr>
            <a:lvl4pPr marL="959976" indent="-239994">
              <a:defRPr sz="1467"/>
            </a:lvl4pPr>
            <a:lvl5pPr marL="1198003" indent="-239994">
              <a:defRPr sz="1467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31801" y="165101"/>
            <a:ext cx="8447617" cy="46166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11088555" y="6498153"/>
            <a:ext cx="525596" cy="205121"/>
          </a:xfrm>
        </p:spPr>
        <p:txBody>
          <a:bodyPr/>
          <a:lstStyle>
            <a:lvl1pPr algn="r">
              <a:defRPr sz="1333" b="1"/>
            </a:lvl1pPr>
          </a:lstStyle>
          <a:p>
            <a:fld id="{D46619FA-62B9-4C58-8D46-9877ED4AF800}" type="slidenum">
              <a:rPr lang="en-US" smtClean="0"/>
              <a:pPr/>
              <a:t>‹#›</a:t>
            </a:fld>
            <a:r>
              <a:rPr lang="en-US" dirty="0"/>
              <a:t>  </a:t>
            </a:r>
          </a:p>
        </p:txBody>
      </p:sp>
      <p:sp>
        <p:nvSpPr>
          <p:cNvPr id="9" name="Datumsplatzhalter 2"/>
          <p:cNvSpPr>
            <a:spLocks noGrp="1"/>
          </p:cNvSpPr>
          <p:nvPr>
            <p:ph type="dt" sz="half" idx="2"/>
          </p:nvPr>
        </p:nvSpPr>
        <p:spPr>
          <a:xfrm>
            <a:off x="7535697" y="6509495"/>
            <a:ext cx="1824204" cy="18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1DB861ED-B4F9-42BF-8E30-27B125D7B396}" type="datetime4">
              <a:rPr lang="en-US" smtClean="0"/>
              <a:t>July 4, 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566623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- white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5107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92F8E679-E260-49EB-A3CA-F368C0674365}"/>
              </a:ext>
            </a:extLst>
          </p:cNvPr>
          <p:cNvGrpSpPr/>
          <p:nvPr/>
        </p:nvGrpSpPr>
        <p:grpSpPr>
          <a:xfrm>
            <a:off x="270000" y="270000"/>
            <a:ext cx="1346400" cy="244836"/>
            <a:chOff x="270000" y="270000"/>
            <a:chExt cx="1346400" cy="244836"/>
          </a:xfrm>
          <a:solidFill>
            <a:schemeClr val="accent1"/>
          </a:solidFill>
        </p:grpSpPr>
        <p:sp>
          <p:nvSpPr>
            <p:cNvPr id="86" name="Freihandform 42">
              <a:extLst>
                <a:ext uri="{FF2B5EF4-FFF2-40B4-BE49-F238E27FC236}">
                  <a16:creationId xmlns:a16="http://schemas.microsoft.com/office/drawing/2014/main" id="{C78A4FAC-CC44-4149-A771-0D69677F7ECA}"/>
                </a:ext>
              </a:extLst>
            </p:cNvPr>
            <p:cNvSpPr/>
            <p:nvPr/>
          </p:nvSpPr>
          <p:spPr bwMode="invGray">
            <a:xfrm>
              <a:off x="846965" y="272507"/>
              <a:ext cx="222709" cy="241364"/>
            </a:xfrm>
            <a:custGeom>
              <a:avLst/>
              <a:gdLst>
                <a:gd name="connsiteX0" fmla="*/ 462697 w 1018566"/>
                <a:gd name="connsiteY0" fmla="*/ 0 h 1103885"/>
                <a:gd name="connsiteX1" fmla="*/ 185079 w 1018566"/>
                <a:gd name="connsiteY1" fmla="*/ 0 h 1103885"/>
                <a:gd name="connsiteX2" fmla="*/ 0 w 1018566"/>
                <a:gd name="connsiteY2" fmla="*/ 368046 h 1103885"/>
                <a:gd name="connsiteX3" fmla="*/ 205995 w 1018566"/>
                <a:gd name="connsiteY3" fmla="*/ 368046 h 1103885"/>
                <a:gd name="connsiteX4" fmla="*/ 324648 w 1018566"/>
                <a:gd name="connsiteY4" fmla="*/ 132300 h 1103885"/>
                <a:gd name="connsiteX5" fmla="*/ 812698 w 1018566"/>
                <a:gd name="connsiteY5" fmla="*/ 1103886 h 1103885"/>
                <a:gd name="connsiteX6" fmla="*/ 1018566 w 1018566"/>
                <a:gd name="connsiteY6" fmla="*/ 1103886 h 1103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8566" h="1103885">
                  <a:moveTo>
                    <a:pt x="462697" y="0"/>
                  </a:moveTo>
                  <a:lnTo>
                    <a:pt x="185079" y="0"/>
                  </a:lnTo>
                  <a:lnTo>
                    <a:pt x="0" y="368046"/>
                  </a:lnTo>
                  <a:lnTo>
                    <a:pt x="205995" y="368046"/>
                  </a:lnTo>
                  <a:lnTo>
                    <a:pt x="324648" y="132300"/>
                  </a:lnTo>
                  <a:lnTo>
                    <a:pt x="812698" y="1103886"/>
                  </a:lnTo>
                  <a:lnTo>
                    <a:pt x="1018566" y="1103886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7" name="Freihandform 43">
              <a:extLst>
                <a:ext uri="{FF2B5EF4-FFF2-40B4-BE49-F238E27FC236}">
                  <a16:creationId xmlns:a16="http://schemas.microsoft.com/office/drawing/2014/main" id="{DE7A47C8-1A17-47CB-B506-734C6F33ACE4}"/>
                </a:ext>
              </a:extLst>
            </p:cNvPr>
            <p:cNvSpPr/>
            <p:nvPr/>
          </p:nvSpPr>
          <p:spPr bwMode="invGray">
            <a:xfrm>
              <a:off x="270000" y="272479"/>
              <a:ext cx="678133" cy="241392"/>
            </a:xfrm>
            <a:custGeom>
              <a:avLst/>
              <a:gdLst>
                <a:gd name="connsiteX0" fmla="*/ 3008922 w 3101461"/>
                <a:gd name="connsiteY0" fmla="*/ 460152 h 1104011"/>
                <a:gd name="connsiteX1" fmla="*/ 602646 w 3101461"/>
                <a:gd name="connsiteY1" fmla="*/ 460152 h 1104011"/>
                <a:gd name="connsiteX2" fmla="*/ 510107 w 3101461"/>
                <a:gd name="connsiteY2" fmla="*/ 644112 h 1104011"/>
                <a:gd name="connsiteX3" fmla="*/ 880264 w 3101461"/>
                <a:gd name="connsiteY3" fmla="*/ 644112 h 1104011"/>
                <a:gd name="connsiteX4" fmla="*/ 880264 w 3101461"/>
                <a:gd name="connsiteY4" fmla="*/ 920052 h 1104011"/>
                <a:gd name="connsiteX5" fmla="*/ 552193 w 3101461"/>
                <a:gd name="connsiteY5" fmla="*/ 920052 h 1104011"/>
                <a:gd name="connsiteX6" fmla="*/ 184191 w 3101461"/>
                <a:gd name="connsiteY6" fmla="*/ 552258 h 1104011"/>
                <a:gd name="connsiteX7" fmla="*/ 552193 w 3101461"/>
                <a:gd name="connsiteY7" fmla="*/ 184086 h 1104011"/>
                <a:gd name="connsiteX8" fmla="*/ 972550 w 3101461"/>
                <a:gd name="connsiteY8" fmla="*/ 184086 h 1104011"/>
                <a:gd name="connsiteX9" fmla="*/ 972550 w 3101461"/>
                <a:gd name="connsiteY9" fmla="*/ 0 h 1104011"/>
                <a:gd name="connsiteX10" fmla="*/ 552193 w 3101461"/>
                <a:gd name="connsiteY10" fmla="*/ 0 h 1104011"/>
                <a:gd name="connsiteX11" fmla="*/ 0 w 3101461"/>
                <a:gd name="connsiteY11" fmla="*/ 552258 h 1104011"/>
                <a:gd name="connsiteX12" fmla="*/ 552193 w 3101461"/>
                <a:gd name="connsiteY12" fmla="*/ 1104012 h 1104011"/>
                <a:gd name="connsiteX13" fmla="*/ 1065470 w 3101461"/>
                <a:gd name="connsiteY13" fmla="*/ 1104012 h 1104011"/>
                <a:gd name="connsiteX14" fmla="*/ 1065470 w 3101461"/>
                <a:gd name="connsiteY14" fmla="*/ 644112 h 1104011"/>
                <a:gd name="connsiteX15" fmla="*/ 1343088 w 3101461"/>
                <a:gd name="connsiteY15" fmla="*/ 644112 h 1104011"/>
                <a:gd name="connsiteX16" fmla="*/ 1343088 w 3101461"/>
                <a:gd name="connsiteY16" fmla="*/ 1104012 h 1104011"/>
                <a:gd name="connsiteX17" fmla="*/ 2083529 w 3101461"/>
                <a:gd name="connsiteY17" fmla="*/ 1104012 h 1104011"/>
                <a:gd name="connsiteX18" fmla="*/ 2176068 w 3101461"/>
                <a:gd name="connsiteY18" fmla="*/ 920052 h 1104011"/>
                <a:gd name="connsiteX19" fmla="*/ 1528166 w 3101461"/>
                <a:gd name="connsiteY19" fmla="*/ 920052 h 1104011"/>
                <a:gd name="connsiteX20" fmla="*/ 1528166 w 3101461"/>
                <a:gd name="connsiteY20" fmla="*/ 644112 h 1104011"/>
                <a:gd name="connsiteX21" fmla="*/ 2498815 w 3101461"/>
                <a:gd name="connsiteY21" fmla="*/ 644112 h 1104011"/>
                <a:gd name="connsiteX22" fmla="*/ 2268608 w 3101461"/>
                <a:gd name="connsiteY22" fmla="*/ 1104012 h 1104011"/>
                <a:gd name="connsiteX23" fmla="*/ 2474476 w 3101461"/>
                <a:gd name="connsiteY23" fmla="*/ 1104012 h 1104011"/>
                <a:gd name="connsiteX24" fmla="*/ 2705824 w 3101461"/>
                <a:gd name="connsiteY24" fmla="*/ 644112 h 1104011"/>
                <a:gd name="connsiteX25" fmla="*/ 3101461 w 3101461"/>
                <a:gd name="connsiteY25" fmla="*/ 644112 h 1104011"/>
                <a:gd name="connsiteX26" fmla="*/ 3008922 w 3101461"/>
                <a:gd name="connsiteY26" fmla="*/ 460152 h 110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01461" h="1104011">
                  <a:moveTo>
                    <a:pt x="3008922" y="460152"/>
                  </a:moveTo>
                  <a:lnTo>
                    <a:pt x="602646" y="460152"/>
                  </a:lnTo>
                  <a:lnTo>
                    <a:pt x="510107" y="644112"/>
                  </a:lnTo>
                  <a:lnTo>
                    <a:pt x="880264" y="644112"/>
                  </a:lnTo>
                  <a:lnTo>
                    <a:pt x="880264" y="920052"/>
                  </a:lnTo>
                  <a:lnTo>
                    <a:pt x="552193" y="920052"/>
                  </a:lnTo>
                  <a:cubicBezTo>
                    <a:pt x="349368" y="920052"/>
                    <a:pt x="184191" y="755748"/>
                    <a:pt x="184191" y="552258"/>
                  </a:cubicBezTo>
                  <a:cubicBezTo>
                    <a:pt x="184191" y="348768"/>
                    <a:pt x="349241" y="184086"/>
                    <a:pt x="552193" y="184086"/>
                  </a:cubicBezTo>
                  <a:lnTo>
                    <a:pt x="972550" y="184086"/>
                  </a:lnTo>
                  <a:lnTo>
                    <a:pt x="972550" y="0"/>
                  </a:lnTo>
                  <a:lnTo>
                    <a:pt x="552193" y="0"/>
                  </a:lnTo>
                  <a:cubicBezTo>
                    <a:pt x="247701" y="0"/>
                    <a:pt x="0" y="247716"/>
                    <a:pt x="0" y="552258"/>
                  </a:cubicBezTo>
                  <a:cubicBezTo>
                    <a:pt x="0" y="856800"/>
                    <a:pt x="247701" y="1104012"/>
                    <a:pt x="552193" y="1104012"/>
                  </a:cubicBezTo>
                  <a:lnTo>
                    <a:pt x="1065470" y="1104012"/>
                  </a:lnTo>
                  <a:lnTo>
                    <a:pt x="1065470" y="644112"/>
                  </a:lnTo>
                  <a:lnTo>
                    <a:pt x="1343088" y="644112"/>
                  </a:lnTo>
                  <a:lnTo>
                    <a:pt x="1343088" y="1104012"/>
                  </a:lnTo>
                  <a:lnTo>
                    <a:pt x="2083529" y="1104012"/>
                  </a:lnTo>
                  <a:lnTo>
                    <a:pt x="2176068" y="920052"/>
                  </a:lnTo>
                  <a:lnTo>
                    <a:pt x="1528166" y="920052"/>
                  </a:lnTo>
                  <a:lnTo>
                    <a:pt x="1528166" y="644112"/>
                  </a:lnTo>
                  <a:lnTo>
                    <a:pt x="2498815" y="644112"/>
                  </a:lnTo>
                  <a:lnTo>
                    <a:pt x="2268608" y="1104012"/>
                  </a:lnTo>
                  <a:lnTo>
                    <a:pt x="2474476" y="1104012"/>
                  </a:lnTo>
                  <a:lnTo>
                    <a:pt x="2705824" y="644112"/>
                  </a:lnTo>
                  <a:lnTo>
                    <a:pt x="3101461" y="644112"/>
                  </a:lnTo>
                  <a:lnTo>
                    <a:pt x="3008922" y="46015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8" name="Freihandform 46">
              <a:extLst>
                <a:ext uri="{FF2B5EF4-FFF2-40B4-BE49-F238E27FC236}">
                  <a16:creationId xmlns:a16="http://schemas.microsoft.com/office/drawing/2014/main" id="{F6980514-C5C3-4070-9D53-3F4B40A250FD}"/>
                </a:ext>
              </a:extLst>
            </p:cNvPr>
            <p:cNvSpPr/>
            <p:nvPr/>
          </p:nvSpPr>
          <p:spPr bwMode="invGray">
            <a:xfrm>
              <a:off x="563638" y="272479"/>
              <a:ext cx="182159" cy="80501"/>
            </a:xfrm>
            <a:custGeom>
              <a:avLst/>
              <a:gdLst>
                <a:gd name="connsiteX0" fmla="*/ 185205 w 833107"/>
                <a:gd name="connsiteY0" fmla="*/ 184086 h 368172"/>
                <a:gd name="connsiteX1" fmla="*/ 833107 w 833107"/>
                <a:gd name="connsiteY1" fmla="*/ 184212 h 368172"/>
                <a:gd name="connsiteX2" fmla="*/ 833107 w 833107"/>
                <a:gd name="connsiteY2" fmla="*/ 126 h 368172"/>
                <a:gd name="connsiteX3" fmla="*/ 0 w 833107"/>
                <a:gd name="connsiteY3" fmla="*/ 0 h 368172"/>
                <a:gd name="connsiteX4" fmla="*/ 0 w 833107"/>
                <a:gd name="connsiteY4" fmla="*/ 368172 h 368172"/>
                <a:gd name="connsiteX5" fmla="*/ 185205 w 833107"/>
                <a:gd name="connsiteY5" fmla="*/ 368172 h 36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3107" h="368172">
                  <a:moveTo>
                    <a:pt x="185205" y="184086"/>
                  </a:moveTo>
                  <a:lnTo>
                    <a:pt x="833107" y="184212"/>
                  </a:lnTo>
                  <a:lnTo>
                    <a:pt x="833107" y="126"/>
                  </a:lnTo>
                  <a:lnTo>
                    <a:pt x="0" y="0"/>
                  </a:lnTo>
                  <a:lnTo>
                    <a:pt x="0" y="368172"/>
                  </a:lnTo>
                  <a:lnTo>
                    <a:pt x="185205" y="36817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7" name="Freihandform 13">
              <a:extLst>
                <a:ext uri="{FF2B5EF4-FFF2-40B4-BE49-F238E27FC236}">
                  <a16:creationId xmlns:a16="http://schemas.microsoft.com/office/drawing/2014/main" id="{5F79A0FA-6215-4C9E-88D3-6859B5F32E15}"/>
                </a:ext>
              </a:extLst>
            </p:cNvPr>
            <p:cNvSpPr/>
            <p:nvPr/>
          </p:nvSpPr>
          <p:spPr bwMode="invGray">
            <a:xfrm>
              <a:off x="1130320" y="272535"/>
              <a:ext cx="40440" cy="63502"/>
            </a:xfrm>
            <a:custGeom>
              <a:avLst/>
              <a:gdLst>
                <a:gd name="connsiteX0" fmla="*/ 184952 w 184951"/>
                <a:gd name="connsiteY0" fmla="*/ 252630 h 290429"/>
                <a:gd name="connsiteX1" fmla="*/ 44114 w 184951"/>
                <a:gd name="connsiteY1" fmla="*/ 252630 h 290429"/>
                <a:gd name="connsiteX2" fmla="*/ 44114 w 184951"/>
                <a:gd name="connsiteY2" fmla="*/ 163800 h 290429"/>
                <a:gd name="connsiteX3" fmla="*/ 173669 w 184951"/>
                <a:gd name="connsiteY3" fmla="*/ 163800 h 290429"/>
                <a:gd name="connsiteX4" fmla="*/ 173669 w 184951"/>
                <a:gd name="connsiteY4" fmla="*/ 126252 h 290429"/>
                <a:gd name="connsiteX5" fmla="*/ 44114 w 184951"/>
                <a:gd name="connsiteY5" fmla="*/ 126252 h 290429"/>
                <a:gd name="connsiteX6" fmla="*/ 44114 w 184951"/>
                <a:gd name="connsiteY6" fmla="*/ 37800 h 290429"/>
                <a:gd name="connsiteX7" fmla="*/ 183177 w 184951"/>
                <a:gd name="connsiteY7" fmla="*/ 37800 h 290429"/>
                <a:gd name="connsiteX8" fmla="*/ 183177 w 184951"/>
                <a:gd name="connsiteY8" fmla="*/ 0 h 290429"/>
                <a:gd name="connsiteX9" fmla="*/ 0 w 184951"/>
                <a:gd name="connsiteY9" fmla="*/ 0 h 290429"/>
                <a:gd name="connsiteX10" fmla="*/ 0 w 184951"/>
                <a:gd name="connsiteY10" fmla="*/ 290430 h 290429"/>
                <a:gd name="connsiteX11" fmla="*/ 184952 w 184951"/>
                <a:gd name="connsiteY11" fmla="*/ 290430 h 290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4951" h="290429">
                  <a:moveTo>
                    <a:pt x="184952" y="252630"/>
                  </a:moveTo>
                  <a:lnTo>
                    <a:pt x="44114" y="252630"/>
                  </a:lnTo>
                  <a:lnTo>
                    <a:pt x="44114" y="163800"/>
                  </a:lnTo>
                  <a:lnTo>
                    <a:pt x="173669" y="163800"/>
                  </a:lnTo>
                  <a:lnTo>
                    <a:pt x="173669" y="126252"/>
                  </a:lnTo>
                  <a:lnTo>
                    <a:pt x="44114" y="126252"/>
                  </a:lnTo>
                  <a:lnTo>
                    <a:pt x="44114" y="37800"/>
                  </a:lnTo>
                  <a:lnTo>
                    <a:pt x="183177" y="37800"/>
                  </a:lnTo>
                  <a:lnTo>
                    <a:pt x="183177" y="0"/>
                  </a:lnTo>
                  <a:lnTo>
                    <a:pt x="0" y="0"/>
                  </a:lnTo>
                  <a:lnTo>
                    <a:pt x="0" y="290430"/>
                  </a:lnTo>
                  <a:lnTo>
                    <a:pt x="184952" y="29043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8" name="Freihandform 14">
              <a:extLst>
                <a:ext uri="{FF2B5EF4-FFF2-40B4-BE49-F238E27FC236}">
                  <a16:creationId xmlns:a16="http://schemas.microsoft.com/office/drawing/2014/main" id="{E57EC58B-2D5D-4877-9B03-E31621E4FFDE}"/>
                </a:ext>
              </a:extLst>
            </p:cNvPr>
            <p:cNvSpPr/>
            <p:nvPr/>
          </p:nvSpPr>
          <p:spPr bwMode="invGray">
            <a:xfrm>
              <a:off x="1182623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665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4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9" name="Freihandform 15">
              <a:extLst>
                <a:ext uri="{FF2B5EF4-FFF2-40B4-BE49-F238E27FC236}">
                  <a16:creationId xmlns:a16="http://schemas.microsoft.com/office/drawing/2014/main" id="{3B593BEE-0095-4972-88AF-BE89E168AFD9}"/>
                </a:ext>
              </a:extLst>
            </p:cNvPr>
            <p:cNvSpPr/>
            <p:nvPr/>
          </p:nvSpPr>
          <p:spPr bwMode="invGray">
            <a:xfrm>
              <a:off x="1232902" y="287797"/>
              <a:ext cx="43821" cy="66974"/>
            </a:xfrm>
            <a:custGeom>
              <a:avLst/>
              <a:gdLst>
                <a:gd name="connsiteX0" fmla="*/ 151739 w 200417"/>
                <a:gd name="connsiteY0" fmla="*/ 297738 h 306306"/>
                <a:gd name="connsiteX1" fmla="*/ 187234 w 200417"/>
                <a:gd name="connsiteY1" fmla="*/ 271152 h 306306"/>
                <a:gd name="connsiteX2" fmla="*/ 200417 w 200417"/>
                <a:gd name="connsiteY2" fmla="*/ 225414 h 306306"/>
                <a:gd name="connsiteX3" fmla="*/ 200417 w 200417"/>
                <a:gd name="connsiteY3" fmla="*/ 2772 h 306306"/>
                <a:gd name="connsiteX4" fmla="*/ 158585 w 200417"/>
                <a:gd name="connsiteY4" fmla="*/ 2772 h 306306"/>
                <a:gd name="connsiteX5" fmla="*/ 158585 w 200417"/>
                <a:gd name="connsiteY5" fmla="*/ 38052 h 306306"/>
                <a:gd name="connsiteX6" fmla="*/ 155415 w 200417"/>
                <a:gd name="connsiteY6" fmla="*/ 38052 h 306306"/>
                <a:gd name="connsiteX7" fmla="*/ 144513 w 200417"/>
                <a:gd name="connsiteY7" fmla="*/ 22302 h 306306"/>
                <a:gd name="connsiteX8" fmla="*/ 124865 w 200417"/>
                <a:gd name="connsiteY8" fmla="*/ 6678 h 306306"/>
                <a:gd name="connsiteX9" fmla="*/ 91905 w 200417"/>
                <a:gd name="connsiteY9" fmla="*/ 0 h 306306"/>
                <a:gd name="connsiteX10" fmla="*/ 44622 w 200417"/>
                <a:gd name="connsiteY10" fmla="*/ 13230 h 306306"/>
                <a:gd name="connsiteX11" fmla="*/ 11916 w 200417"/>
                <a:gd name="connsiteY11" fmla="*/ 51282 h 306306"/>
                <a:gd name="connsiteX12" fmla="*/ 0 w 200417"/>
                <a:gd name="connsiteY12" fmla="*/ 110880 h 306306"/>
                <a:gd name="connsiteX13" fmla="*/ 12043 w 200417"/>
                <a:gd name="connsiteY13" fmla="*/ 169344 h 306306"/>
                <a:gd name="connsiteX14" fmla="*/ 44875 w 200417"/>
                <a:gd name="connsiteY14" fmla="*/ 205254 h 306306"/>
                <a:gd name="connsiteX15" fmla="*/ 91525 w 200417"/>
                <a:gd name="connsiteY15" fmla="*/ 217350 h 306306"/>
                <a:gd name="connsiteX16" fmla="*/ 124231 w 200417"/>
                <a:gd name="connsiteY16" fmla="*/ 211050 h 306306"/>
                <a:gd name="connsiteX17" fmla="*/ 144007 w 200417"/>
                <a:gd name="connsiteY17" fmla="*/ 196308 h 306306"/>
                <a:gd name="connsiteX18" fmla="*/ 155035 w 200417"/>
                <a:gd name="connsiteY18" fmla="*/ 180810 h 306306"/>
                <a:gd name="connsiteX19" fmla="*/ 157697 w 200417"/>
                <a:gd name="connsiteY19" fmla="*/ 180810 h 306306"/>
                <a:gd name="connsiteX20" fmla="*/ 157697 w 200417"/>
                <a:gd name="connsiteY20" fmla="*/ 223650 h 306306"/>
                <a:gd name="connsiteX21" fmla="*/ 141851 w 200417"/>
                <a:gd name="connsiteY21" fmla="*/ 260568 h 306306"/>
                <a:gd name="connsiteX22" fmla="*/ 101793 w 200417"/>
                <a:gd name="connsiteY22" fmla="*/ 272160 h 306306"/>
                <a:gd name="connsiteX23" fmla="*/ 72891 w 200417"/>
                <a:gd name="connsiteY23" fmla="*/ 267246 h 306306"/>
                <a:gd name="connsiteX24" fmla="*/ 55270 w 200417"/>
                <a:gd name="connsiteY24" fmla="*/ 255276 h 306306"/>
                <a:gd name="connsiteX25" fmla="*/ 44875 w 200417"/>
                <a:gd name="connsiteY25" fmla="*/ 242424 h 306306"/>
                <a:gd name="connsiteX26" fmla="*/ 8240 w 200417"/>
                <a:gd name="connsiteY26" fmla="*/ 257418 h 306306"/>
                <a:gd name="connsiteX27" fmla="*/ 25860 w 200417"/>
                <a:gd name="connsiteY27" fmla="*/ 281610 h 306306"/>
                <a:gd name="connsiteX28" fmla="*/ 56411 w 200417"/>
                <a:gd name="connsiteY28" fmla="*/ 299502 h 306306"/>
                <a:gd name="connsiteX29" fmla="*/ 101286 w 200417"/>
                <a:gd name="connsiteY29" fmla="*/ 306306 h 306306"/>
                <a:gd name="connsiteX30" fmla="*/ 151739 w 200417"/>
                <a:gd name="connsiteY30" fmla="*/ 297738 h 306306"/>
                <a:gd name="connsiteX31" fmla="*/ 151612 w 200417"/>
                <a:gd name="connsiteY31" fmla="*/ 148932 h 306306"/>
                <a:gd name="connsiteX32" fmla="*/ 132217 w 200417"/>
                <a:gd name="connsiteY32" fmla="*/ 173628 h 306306"/>
                <a:gd name="connsiteX33" fmla="*/ 101033 w 200417"/>
                <a:gd name="connsiteY33" fmla="*/ 182196 h 306306"/>
                <a:gd name="connsiteX34" fmla="*/ 69214 w 200417"/>
                <a:gd name="connsiteY34" fmla="*/ 173124 h 306306"/>
                <a:gd name="connsiteX35" fmla="*/ 49819 w 200417"/>
                <a:gd name="connsiteY35" fmla="*/ 147924 h 306306"/>
                <a:gd name="connsiteX36" fmla="*/ 43227 w 200417"/>
                <a:gd name="connsiteY36" fmla="*/ 110376 h 306306"/>
                <a:gd name="connsiteX37" fmla="*/ 49693 w 200417"/>
                <a:gd name="connsiteY37" fmla="*/ 72702 h 306306"/>
                <a:gd name="connsiteX38" fmla="*/ 68961 w 200417"/>
                <a:gd name="connsiteY38" fmla="*/ 45990 h 306306"/>
                <a:gd name="connsiteX39" fmla="*/ 101033 w 200417"/>
                <a:gd name="connsiteY39" fmla="*/ 36162 h 306306"/>
                <a:gd name="connsiteX40" fmla="*/ 132471 w 200417"/>
                <a:gd name="connsiteY40" fmla="*/ 45612 h 306306"/>
                <a:gd name="connsiteX41" fmla="*/ 151739 w 200417"/>
                <a:gd name="connsiteY41" fmla="*/ 71820 h 306306"/>
                <a:gd name="connsiteX42" fmla="*/ 158331 w 200417"/>
                <a:gd name="connsiteY42" fmla="*/ 110502 h 306306"/>
                <a:gd name="connsiteX43" fmla="*/ 151612 w 200417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417" h="306306">
                  <a:moveTo>
                    <a:pt x="151739" y="297738"/>
                  </a:moveTo>
                  <a:cubicBezTo>
                    <a:pt x="166571" y="291942"/>
                    <a:pt x="178487" y="283122"/>
                    <a:pt x="187234" y="271152"/>
                  </a:cubicBezTo>
                  <a:cubicBezTo>
                    <a:pt x="195980" y="259182"/>
                    <a:pt x="200417" y="243936"/>
                    <a:pt x="200417" y="225414"/>
                  </a:cubicBezTo>
                  <a:lnTo>
                    <a:pt x="200417" y="2772"/>
                  </a:lnTo>
                  <a:lnTo>
                    <a:pt x="158585" y="2772"/>
                  </a:ln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7" y="196308"/>
                  </a:cubicBezTo>
                  <a:cubicBezTo>
                    <a:pt x="148824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3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20048" y="306306"/>
                    <a:pt x="136781" y="303534"/>
                    <a:pt x="151739" y="297738"/>
                  </a:cubicBezTo>
                  <a:close/>
                  <a:moveTo>
                    <a:pt x="151612" y="148932"/>
                  </a:moveTo>
                  <a:cubicBezTo>
                    <a:pt x="147176" y="159642"/>
                    <a:pt x="140711" y="167832"/>
                    <a:pt x="132217" y="173628"/>
                  </a:cubicBezTo>
                  <a:cubicBezTo>
                    <a:pt x="123724" y="179298"/>
                    <a:pt x="113329" y="182196"/>
                    <a:pt x="101033" y="182196"/>
                  </a:cubicBezTo>
                  <a:cubicBezTo>
                    <a:pt x="88356" y="182196"/>
                    <a:pt x="77708" y="179172"/>
                    <a:pt x="69214" y="173124"/>
                  </a:cubicBezTo>
                  <a:cubicBezTo>
                    <a:pt x="60594" y="167076"/>
                    <a:pt x="54129" y="158634"/>
                    <a:pt x="49819" y="147924"/>
                  </a:cubicBezTo>
                  <a:cubicBezTo>
                    <a:pt x="45383" y="137088"/>
                    <a:pt x="43227" y="124614"/>
                    <a:pt x="43227" y="110376"/>
                  </a:cubicBezTo>
                  <a:cubicBezTo>
                    <a:pt x="43227" y="96516"/>
                    <a:pt x="45383" y="83916"/>
                    <a:pt x="49693" y="72702"/>
                  </a:cubicBezTo>
                  <a:cubicBezTo>
                    <a:pt x="54003" y="61488"/>
                    <a:pt x="60468" y="52542"/>
                    <a:pt x="68961" y="45990"/>
                  </a:cubicBezTo>
                  <a:cubicBezTo>
                    <a:pt x="77454" y="39438"/>
                    <a:pt x="88229" y="36162"/>
                    <a:pt x="101033" y="36162"/>
                  </a:cubicBezTo>
                  <a:cubicBezTo>
                    <a:pt x="113456" y="36162"/>
                    <a:pt x="123977" y="39312"/>
                    <a:pt x="132471" y="45612"/>
                  </a:cubicBezTo>
                  <a:cubicBezTo>
                    <a:pt x="140964" y="51912"/>
                    <a:pt x="147302" y="60606"/>
                    <a:pt x="151739" y="71820"/>
                  </a:cubicBezTo>
                  <a:cubicBezTo>
                    <a:pt x="156049" y="83034"/>
                    <a:pt x="158331" y="95886"/>
                    <a:pt x="158331" y="110502"/>
                  </a:cubicBezTo>
                  <a:cubicBezTo>
                    <a:pt x="158204" y="125370"/>
                    <a:pt x="156049" y="138222"/>
                    <a:pt x="151612" y="14893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0" name="Freihandform 16">
              <a:extLst>
                <a:ext uri="{FF2B5EF4-FFF2-40B4-BE49-F238E27FC236}">
                  <a16:creationId xmlns:a16="http://schemas.microsoft.com/office/drawing/2014/main" id="{61DB7D41-1F3C-4577-8DF3-381E205FC7E3}"/>
                </a:ext>
              </a:extLst>
            </p:cNvPr>
            <p:cNvSpPr/>
            <p:nvPr/>
          </p:nvSpPr>
          <p:spPr bwMode="invGray">
            <a:xfrm>
              <a:off x="1288032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3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057" y="48132"/>
                    <a:pt x="19522" y="50652"/>
                    <a:pt x="26874" y="506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1" name="Freihandform 17">
              <a:extLst>
                <a:ext uri="{FF2B5EF4-FFF2-40B4-BE49-F238E27FC236}">
                  <a16:creationId xmlns:a16="http://schemas.microsoft.com/office/drawing/2014/main" id="{5FAB5E34-4947-4A96-B073-3D90C2A47D69}"/>
                </a:ext>
              </a:extLst>
            </p:cNvPr>
            <p:cNvSpPr/>
            <p:nvPr/>
          </p:nvSpPr>
          <p:spPr bwMode="invGray">
            <a:xfrm>
              <a:off x="1289196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2" name="Freihandform 18">
              <a:extLst>
                <a:ext uri="{FF2B5EF4-FFF2-40B4-BE49-F238E27FC236}">
                  <a16:creationId xmlns:a16="http://schemas.microsoft.com/office/drawing/2014/main" id="{E901DCE8-17C4-4D0F-A0D3-C842B85B34DF}"/>
                </a:ext>
              </a:extLst>
            </p:cNvPr>
            <p:cNvSpPr/>
            <p:nvPr/>
          </p:nvSpPr>
          <p:spPr bwMode="invGray">
            <a:xfrm>
              <a:off x="1311148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792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5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3" name="Freihandform 19">
              <a:extLst>
                <a:ext uri="{FF2B5EF4-FFF2-40B4-BE49-F238E27FC236}">
                  <a16:creationId xmlns:a16="http://schemas.microsoft.com/office/drawing/2014/main" id="{7B705228-D5D6-44EB-AB29-6486B6E45C00}"/>
                </a:ext>
              </a:extLst>
            </p:cNvPr>
            <p:cNvSpPr/>
            <p:nvPr/>
          </p:nvSpPr>
          <p:spPr bwMode="invGray">
            <a:xfrm>
              <a:off x="1361400" y="287852"/>
              <a:ext cx="43350" cy="49149"/>
            </a:xfrm>
            <a:custGeom>
              <a:avLst/>
              <a:gdLst>
                <a:gd name="connsiteX0" fmla="*/ 48424 w 198262"/>
                <a:gd name="connsiteY0" fmla="*/ 210924 h 224783"/>
                <a:gd name="connsiteX1" fmla="*/ 104202 w 198262"/>
                <a:gd name="connsiteY1" fmla="*/ 224784 h 224783"/>
                <a:gd name="connsiteX2" fmla="*/ 146922 w 198262"/>
                <a:gd name="connsiteY2" fmla="*/ 217476 h 224783"/>
                <a:gd name="connsiteX3" fmla="*/ 178106 w 198262"/>
                <a:gd name="connsiteY3" fmla="*/ 196938 h 224783"/>
                <a:gd name="connsiteX4" fmla="*/ 195473 w 198262"/>
                <a:gd name="connsiteY4" fmla="*/ 165942 h 224783"/>
                <a:gd name="connsiteX5" fmla="*/ 155162 w 198262"/>
                <a:gd name="connsiteY5" fmla="*/ 158760 h 224783"/>
                <a:gd name="connsiteX6" fmla="*/ 144006 w 198262"/>
                <a:gd name="connsiteY6" fmla="*/ 175896 h 224783"/>
                <a:gd name="connsiteX7" fmla="*/ 126766 w 198262"/>
                <a:gd name="connsiteY7" fmla="*/ 186354 h 224783"/>
                <a:gd name="connsiteX8" fmla="*/ 104709 w 198262"/>
                <a:gd name="connsiteY8" fmla="*/ 189882 h 224783"/>
                <a:gd name="connsiteX9" fmla="*/ 72003 w 198262"/>
                <a:gd name="connsiteY9" fmla="*/ 181818 h 224783"/>
                <a:gd name="connsiteX10" fmla="*/ 50326 w 198262"/>
                <a:gd name="connsiteY10" fmla="*/ 158508 h 224783"/>
                <a:gd name="connsiteX11" fmla="*/ 42847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424 w 198262"/>
                <a:gd name="connsiteY22" fmla="*/ 210924 h 224783"/>
                <a:gd name="connsiteX23" fmla="*/ 49566 w 198262"/>
                <a:gd name="connsiteY23" fmla="*/ 66150 h 224783"/>
                <a:gd name="connsiteX24" fmla="*/ 70102 w 198262"/>
                <a:gd name="connsiteY24" fmla="*/ 43470 h 224783"/>
                <a:gd name="connsiteX25" fmla="*/ 101413 w 198262"/>
                <a:gd name="connsiteY25" fmla="*/ 34776 h 224783"/>
                <a:gd name="connsiteX26" fmla="*/ 130316 w 198262"/>
                <a:gd name="connsiteY26" fmla="*/ 42336 h 224783"/>
                <a:gd name="connsiteX27" fmla="*/ 149457 w 198262"/>
                <a:gd name="connsiteY27" fmla="*/ 62874 h 224783"/>
                <a:gd name="connsiteX28" fmla="*/ 156303 w 198262"/>
                <a:gd name="connsiteY28" fmla="*/ 92610 h 224783"/>
                <a:gd name="connsiteX29" fmla="*/ 42847 w 198262"/>
                <a:gd name="connsiteY29" fmla="*/ 92610 h 224783"/>
                <a:gd name="connsiteX30" fmla="*/ 49566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424" y="210924"/>
                  </a:moveTo>
                  <a:cubicBezTo>
                    <a:pt x="64017" y="220122"/>
                    <a:pt x="82525" y="224784"/>
                    <a:pt x="104202" y="224784"/>
                  </a:cubicBezTo>
                  <a:cubicBezTo>
                    <a:pt x="120174" y="224784"/>
                    <a:pt x="134372" y="222390"/>
                    <a:pt x="146922" y="217476"/>
                  </a:cubicBezTo>
                  <a:cubicBezTo>
                    <a:pt x="159472" y="212562"/>
                    <a:pt x="169867" y="205758"/>
                    <a:pt x="178106" y="196938"/>
                  </a:cubicBezTo>
                  <a:cubicBezTo>
                    <a:pt x="186473" y="188118"/>
                    <a:pt x="192178" y="177786"/>
                    <a:pt x="195473" y="165942"/>
                  </a:cubicBezTo>
                  <a:lnTo>
                    <a:pt x="155162" y="158760"/>
                  </a:lnTo>
                  <a:cubicBezTo>
                    <a:pt x="152626" y="165564"/>
                    <a:pt x="148823" y="171234"/>
                    <a:pt x="144006" y="175896"/>
                  </a:cubicBezTo>
                  <a:cubicBezTo>
                    <a:pt x="139189" y="180558"/>
                    <a:pt x="133358" y="183960"/>
                    <a:pt x="126766" y="186354"/>
                  </a:cubicBezTo>
                  <a:cubicBezTo>
                    <a:pt x="120048" y="188622"/>
                    <a:pt x="112695" y="189882"/>
                    <a:pt x="104709" y="189882"/>
                  </a:cubicBezTo>
                  <a:cubicBezTo>
                    <a:pt x="92286" y="189882"/>
                    <a:pt x="81384" y="187236"/>
                    <a:pt x="72003" y="181818"/>
                  </a:cubicBezTo>
                  <a:cubicBezTo>
                    <a:pt x="62749" y="176526"/>
                    <a:pt x="55397" y="168714"/>
                    <a:pt x="50326" y="158508"/>
                  </a:cubicBezTo>
                  <a:cubicBezTo>
                    <a:pt x="45509" y="149058"/>
                    <a:pt x="43227" y="137592"/>
                    <a:pt x="42847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0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0916" y="188748"/>
                    <a:pt x="32959" y="201726"/>
                    <a:pt x="48424" y="210924"/>
                  </a:cubicBezTo>
                  <a:close/>
                  <a:moveTo>
                    <a:pt x="49566" y="66150"/>
                  </a:moveTo>
                  <a:cubicBezTo>
                    <a:pt x="54382" y="56826"/>
                    <a:pt x="61228" y="49266"/>
                    <a:pt x="70102" y="43470"/>
                  </a:cubicBezTo>
                  <a:cubicBezTo>
                    <a:pt x="78975" y="37674"/>
                    <a:pt x="89370" y="34776"/>
                    <a:pt x="101413" y="34776"/>
                  </a:cubicBezTo>
                  <a:cubicBezTo>
                    <a:pt x="112442" y="34776"/>
                    <a:pt x="122076" y="37296"/>
                    <a:pt x="130316" y="42336"/>
                  </a:cubicBezTo>
                  <a:cubicBezTo>
                    <a:pt x="138555" y="47376"/>
                    <a:pt x="144894" y="54180"/>
                    <a:pt x="149457" y="62874"/>
                  </a:cubicBezTo>
                  <a:cubicBezTo>
                    <a:pt x="154021" y="71568"/>
                    <a:pt x="156303" y="81396"/>
                    <a:pt x="156303" y="92610"/>
                  </a:cubicBezTo>
                  <a:lnTo>
                    <a:pt x="42847" y="92610"/>
                  </a:lnTo>
                  <a:cubicBezTo>
                    <a:pt x="43354" y="83160"/>
                    <a:pt x="45382" y="74340"/>
                    <a:pt x="49566" y="6615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4" name="Freihandform 20">
              <a:extLst>
                <a:ext uri="{FF2B5EF4-FFF2-40B4-BE49-F238E27FC236}">
                  <a16:creationId xmlns:a16="http://schemas.microsoft.com/office/drawing/2014/main" id="{21E22395-C023-4230-9959-623017CB2A5A}"/>
                </a:ext>
              </a:extLst>
            </p:cNvPr>
            <p:cNvSpPr/>
            <p:nvPr/>
          </p:nvSpPr>
          <p:spPr bwMode="invGray">
            <a:xfrm>
              <a:off x="1412954" y="287852"/>
              <a:ext cx="43350" cy="49149"/>
            </a:xfrm>
            <a:custGeom>
              <a:avLst/>
              <a:gdLst>
                <a:gd name="connsiteX0" fmla="*/ 48552 w 198262"/>
                <a:gd name="connsiteY0" fmla="*/ 210924 h 224783"/>
                <a:gd name="connsiteX1" fmla="*/ 104329 w 198262"/>
                <a:gd name="connsiteY1" fmla="*/ 224784 h 224783"/>
                <a:gd name="connsiteX2" fmla="*/ 147049 w 198262"/>
                <a:gd name="connsiteY2" fmla="*/ 217476 h 224783"/>
                <a:gd name="connsiteX3" fmla="*/ 178234 w 198262"/>
                <a:gd name="connsiteY3" fmla="*/ 196938 h 224783"/>
                <a:gd name="connsiteX4" fmla="*/ 195601 w 198262"/>
                <a:gd name="connsiteY4" fmla="*/ 165942 h 224783"/>
                <a:gd name="connsiteX5" fmla="*/ 155289 w 198262"/>
                <a:gd name="connsiteY5" fmla="*/ 158760 h 224783"/>
                <a:gd name="connsiteX6" fmla="*/ 144133 w 198262"/>
                <a:gd name="connsiteY6" fmla="*/ 175896 h 224783"/>
                <a:gd name="connsiteX7" fmla="*/ 126893 w 198262"/>
                <a:gd name="connsiteY7" fmla="*/ 186354 h 224783"/>
                <a:gd name="connsiteX8" fmla="*/ 104836 w 198262"/>
                <a:gd name="connsiteY8" fmla="*/ 189882 h 224783"/>
                <a:gd name="connsiteX9" fmla="*/ 72130 w 198262"/>
                <a:gd name="connsiteY9" fmla="*/ 181818 h 224783"/>
                <a:gd name="connsiteX10" fmla="*/ 50453 w 198262"/>
                <a:gd name="connsiteY10" fmla="*/ 158508 h 224783"/>
                <a:gd name="connsiteX11" fmla="*/ 42974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552 w 198262"/>
                <a:gd name="connsiteY22" fmla="*/ 210924 h 224783"/>
                <a:gd name="connsiteX23" fmla="*/ 49693 w 198262"/>
                <a:gd name="connsiteY23" fmla="*/ 66150 h 224783"/>
                <a:gd name="connsiteX24" fmla="*/ 70229 w 198262"/>
                <a:gd name="connsiteY24" fmla="*/ 43470 h 224783"/>
                <a:gd name="connsiteX25" fmla="*/ 101540 w 198262"/>
                <a:gd name="connsiteY25" fmla="*/ 34776 h 224783"/>
                <a:gd name="connsiteX26" fmla="*/ 130443 w 198262"/>
                <a:gd name="connsiteY26" fmla="*/ 42336 h 224783"/>
                <a:gd name="connsiteX27" fmla="*/ 149584 w 198262"/>
                <a:gd name="connsiteY27" fmla="*/ 62874 h 224783"/>
                <a:gd name="connsiteX28" fmla="*/ 156430 w 198262"/>
                <a:gd name="connsiteY28" fmla="*/ 92610 h 224783"/>
                <a:gd name="connsiteX29" fmla="*/ 42974 w 198262"/>
                <a:gd name="connsiteY29" fmla="*/ 92610 h 224783"/>
                <a:gd name="connsiteX30" fmla="*/ 49693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552" y="210924"/>
                  </a:moveTo>
                  <a:cubicBezTo>
                    <a:pt x="64144" y="220122"/>
                    <a:pt x="82652" y="224784"/>
                    <a:pt x="104329" y="224784"/>
                  </a:cubicBezTo>
                  <a:cubicBezTo>
                    <a:pt x="120301" y="224784"/>
                    <a:pt x="134499" y="222390"/>
                    <a:pt x="147049" y="217476"/>
                  </a:cubicBezTo>
                  <a:cubicBezTo>
                    <a:pt x="159599" y="212562"/>
                    <a:pt x="169993" y="205758"/>
                    <a:pt x="178234" y="196938"/>
                  </a:cubicBezTo>
                  <a:cubicBezTo>
                    <a:pt x="186600" y="188118"/>
                    <a:pt x="192304" y="177786"/>
                    <a:pt x="195601" y="165942"/>
                  </a:cubicBezTo>
                  <a:lnTo>
                    <a:pt x="155289" y="158760"/>
                  </a:lnTo>
                  <a:cubicBezTo>
                    <a:pt x="152753" y="165564"/>
                    <a:pt x="148950" y="171234"/>
                    <a:pt x="144133" y="175896"/>
                  </a:cubicBezTo>
                  <a:cubicBezTo>
                    <a:pt x="139316" y="180558"/>
                    <a:pt x="133485" y="183960"/>
                    <a:pt x="126893" y="186354"/>
                  </a:cubicBezTo>
                  <a:cubicBezTo>
                    <a:pt x="120174" y="188622"/>
                    <a:pt x="112822" y="189882"/>
                    <a:pt x="104836" y="189882"/>
                  </a:cubicBezTo>
                  <a:cubicBezTo>
                    <a:pt x="92413" y="189882"/>
                    <a:pt x="81511" y="187236"/>
                    <a:pt x="72130" y="181818"/>
                  </a:cubicBezTo>
                  <a:cubicBezTo>
                    <a:pt x="62876" y="176526"/>
                    <a:pt x="55524" y="168714"/>
                    <a:pt x="50453" y="158508"/>
                  </a:cubicBezTo>
                  <a:cubicBezTo>
                    <a:pt x="45636" y="149058"/>
                    <a:pt x="43354" y="137592"/>
                    <a:pt x="42974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1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8748"/>
                    <a:pt x="33086" y="201726"/>
                    <a:pt x="48552" y="210924"/>
                  </a:cubicBezTo>
                  <a:close/>
                  <a:moveTo>
                    <a:pt x="49693" y="66150"/>
                  </a:moveTo>
                  <a:cubicBezTo>
                    <a:pt x="54510" y="56826"/>
                    <a:pt x="61355" y="49266"/>
                    <a:pt x="70229" y="43470"/>
                  </a:cubicBezTo>
                  <a:cubicBezTo>
                    <a:pt x="79102" y="37674"/>
                    <a:pt x="89497" y="34776"/>
                    <a:pt x="101540" y="34776"/>
                  </a:cubicBezTo>
                  <a:cubicBezTo>
                    <a:pt x="112568" y="34776"/>
                    <a:pt x="122203" y="37296"/>
                    <a:pt x="130443" y="42336"/>
                  </a:cubicBezTo>
                  <a:cubicBezTo>
                    <a:pt x="138682" y="47376"/>
                    <a:pt x="145021" y="54180"/>
                    <a:pt x="149584" y="62874"/>
                  </a:cubicBezTo>
                  <a:cubicBezTo>
                    <a:pt x="154148" y="71568"/>
                    <a:pt x="156430" y="81396"/>
                    <a:pt x="156430" y="92610"/>
                  </a:cubicBezTo>
                  <a:lnTo>
                    <a:pt x="42974" y="92610"/>
                  </a:lnTo>
                  <a:cubicBezTo>
                    <a:pt x="43481" y="83160"/>
                    <a:pt x="45509" y="74340"/>
                    <a:pt x="49693" y="6615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5" name="Freihandform 21">
              <a:extLst>
                <a:ext uri="{FF2B5EF4-FFF2-40B4-BE49-F238E27FC236}">
                  <a16:creationId xmlns:a16="http://schemas.microsoft.com/office/drawing/2014/main" id="{1E2BB517-8F29-4022-AE5A-40B42F664F3A}"/>
                </a:ext>
              </a:extLst>
            </p:cNvPr>
            <p:cNvSpPr/>
            <p:nvPr/>
          </p:nvSpPr>
          <p:spPr bwMode="invGray">
            <a:xfrm>
              <a:off x="1466698" y="287687"/>
              <a:ext cx="25638" cy="48322"/>
            </a:xfrm>
            <a:custGeom>
              <a:avLst/>
              <a:gdLst>
                <a:gd name="connsiteX0" fmla="*/ 42720 w 117258"/>
                <a:gd name="connsiteY0" fmla="*/ 88074 h 221003"/>
                <a:gd name="connsiteX1" fmla="*/ 49566 w 117258"/>
                <a:gd name="connsiteY1" fmla="*/ 62748 h 221003"/>
                <a:gd name="connsiteX2" fmla="*/ 68200 w 117258"/>
                <a:gd name="connsiteY2" fmla="*/ 45360 h 221003"/>
                <a:gd name="connsiteX3" fmla="*/ 95075 w 117258"/>
                <a:gd name="connsiteY3" fmla="*/ 39060 h 221003"/>
                <a:gd name="connsiteX4" fmla="*/ 108132 w 117258"/>
                <a:gd name="connsiteY4" fmla="*/ 39942 h 221003"/>
                <a:gd name="connsiteX5" fmla="*/ 117259 w 117258"/>
                <a:gd name="connsiteY5" fmla="*/ 41580 h 221003"/>
                <a:gd name="connsiteX6" fmla="*/ 117259 w 117258"/>
                <a:gd name="connsiteY6" fmla="*/ 1008 h 221003"/>
                <a:gd name="connsiteX7" fmla="*/ 108639 w 117258"/>
                <a:gd name="connsiteY7" fmla="*/ 252 h 221003"/>
                <a:gd name="connsiteX8" fmla="*/ 99131 w 117258"/>
                <a:gd name="connsiteY8" fmla="*/ 0 h 221003"/>
                <a:gd name="connsiteX9" fmla="*/ 64651 w 117258"/>
                <a:gd name="connsiteY9" fmla="*/ 10080 h 221003"/>
                <a:gd name="connsiteX10" fmla="*/ 43481 w 117258"/>
                <a:gd name="connsiteY10" fmla="*/ 37800 h 221003"/>
                <a:gd name="connsiteX11" fmla="*/ 41199 w 117258"/>
                <a:gd name="connsiteY11" fmla="*/ 37800 h 221003"/>
                <a:gd name="connsiteX12" fmla="*/ 41199 w 117258"/>
                <a:gd name="connsiteY12" fmla="*/ 3276 h 221003"/>
                <a:gd name="connsiteX13" fmla="*/ 0 w 117258"/>
                <a:gd name="connsiteY13" fmla="*/ 3276 h 221003"/>
                <a:gd name="connsiteX14" fmla="*/ 0 w 117258"/>
                <a:gd name="connsiteY14" fmla="*/ 221004 h 221003"/>
                <a:gd name="connsiteX15" fmla="*/ 42720 w 117258"/>
                <a:gd name="connsiteY15" fmla="*/ 221004 h 221003"/>
                <a:gd name="connsiteX16" fmla="*/ 42720 w 117258"/>
                <a:gd name="connsiteY16" fmla="*/ 88074 h 22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3">
                  <a:moveTo>
                    <a:pt x="42720" y="88074"/>
                  </a:move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6" name="Freihandform 22">
              <a:extLst>
                <a:ext uri="{FF2B5EF4-FFF2-40B4-BE49-F238E27FC236}">
                  <a16:creationId xmlns:a16="http://schemas.microsoft.com/office/drawing/2014/main" id="{0C728F05-57FE-4401-8837-450B15131652}"/>
                </a:ext>
              </a:extLst>
            </p:cNvPr>
            <p:cNvSpPr/>
            <p:nvPr/>
          </p:nvSpPr>
          <p:spPr bwMode="invGray">
            <a:xfrm>
              <a:off x="1500430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7" name="Freihandform 23">
              <a:extLst>
                <a:ext uri="{FF2B5EF4-FFF2-40B4-BE49-F238E27FC236}">
                  <a16:creationId xmlns:a16="http://schemas.microsoft.com/office/drawing/2014/main" id="{139BA451-36CE-4C7D-8CDD-B97DEAC6048F}"/>
                </a:ext>
              </a:extLst>
            </p:cNvPr>
            <p:cNvSpPr/>
            <p:nvPr/>
          </p:nvSpPr>
          <p:spPr bwMode="invGray">
            <a:xfrm>
              <a:off x="1499266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4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184" y="48132"/>
                    <a:pt x="19522" y="50652"/>
                    <a:pt x="26874" y="506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8" name="Freihandform 24">
              <a:extLst>
                <a:ext uri="{FF2B5EF4-FFF2-40B4-BE49-F238E27FC236}">
                  <a16:creationId xmlns:a16="http://schemas.microsoft.com/office/drawing/2014/main" id="{249EBBFB-F3E2-46CC-A091-037BADCC2169}"/>
                </a:ext>
              </a:extLst>
            </p:cNvPr>
            <p:cNvSpPr/>
            <p:nvPr/>
          </p:nvSpPr>
          <p:spPr bwMode="invGray">
            <a:xfrm>
              <a:off x="1522355" y="287769"/>
              <a:ext cx="39941" cy="48267"/>
            </a:xfrm>
            <a:custGeom>
              <a:avLst/>
              <a:gdLst>
                <a:gd name="connsiteX0" fmla="*/ 182670 w 182670"/>
                <a:gd name="connsiteY0" fmla="*/ 220752 h 220751"/>
                <a:gd name="connsiteX1" fmla="*/ 182670 w 182670"/>
                <a:gd name="connsiteY1" fmla="*/ 82152 h 220751"/>
                <a:gd name="connsiteX2" fmla="*/ 173416 w 182670"/>
                <a:gd name="connsiteY2" fmla="*/ 36918 h 220751"/>
                <a:gd name="connsiteX3" fmla="*/ 147303 w 182670"/>
                <a:gd name="connsiteY3" fmla="*/ 9324 h 220751"/>
                <a:gd name="connsiteX4" fmla="*/ 108132 w 182670"/>
                <a:gd name="connsiteY4" fmla="*/ 0 h 220751"/>
                <a:gd name="connsiteX5" fmla="*/ 67313 w 182670"/>
                <a:gd name="connsiteY5" fmla="*/ 10458 h 220751"/>
                <a:gd name="connsiteX6" fmla="*/ 43608 w 182670"/>
                <a:gd name="connsiteY6" fmla="*/ 38304 h 220751"/>
                <a:gd name="connsiteX7" fmla="*/ 40946 w 182670"/>
                <a:gd name="connsiteY7" fmla="*/ 38304 h 220751"/>
                <a:gd name="connsiteX8" fmla="*/ 40946 w 182670"/>
                <a:gd name="connsiteY8" fmla="*/ 2898 h 220751"/>
                <a:gd name="connsiteX9" fmla="*/ 0 w 182670"/>
                <a:gd name="connsiteY9" fmla="*/ 2898 h 220751"/>
                <a:gd name="connsiteX10" fmla="*/ 0 w 182670"/>
                <a:gd name="connsiteY10" fmla="*/ 220626 h 220751"/>
                <a:gd name="connsiteX11" fmla="*/ 42721 w 182670"/>
                <a:gd name="connsiteY11" fmla="*/ 220626 h 220751"/>
                <a:gd name="connsiteX12" fmla="*/ 42721 w 182670"/>
                <a:gd name="connsiteY12" fmla="*/ 91350 h 220751"/>
                <a:gd name="connsiteX13" fmla="*/ 49312 w 182670"/>
                <a:gd name="connsiteY13" fmla="*/ 61740 h 220751"/>
                <a:gd name="connsiteX14" fmla="*/ 67440 w 182670"/>
                <a:gd name="connsiteY14" fmla="*/ 43092 h 220751"/>
                <a:gd name="connsiteX15" fmla="*/ 93807 w 182670"/>
                <a:gd name="connsiteY15" fmla="*/ 36666 h 220751"/>
                <a:gd name="connsiteX16" fmla="*/ 127907 w 182670"/>
                <a:gd name="connsiteY16" fmla="*/ 50022 h 220751"/>
                <a:gd name="connsiteX17" fmla="*/ 140330 w 182670"/>
                <a:gd name="connsiteY17" fmla="*/ 87066 h 220751"/>
                <a:gd name="connsiteX18" fmla="*/ 140330 w 182670"/>
                <a:gd name="connsiteY18" fmla="*/ 220500 h 220751"/>
                <a:gd name="connsiteX19" fmla="*/ 182670 w 182670"/>
                <a:gd name="connsiteY19" fmla="*/ 220500 h 220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751">
                  <a:moveTo>
                    <a:pt x="182670" y="220752"/>
                  </a:moveTo>
                  <a:lnTo>
                    <a:pt x="182670" y="82152"/>
                  </a:lnTo>
                  <a:cubicBezTo>
                    <a:pt x="182670" y="64260"/>
                    <a:pt x="179628" y="49140"/>
                    <a:pt x="173416" y="36918"/>
                  </a:cubicBezTo>
                  <a:cubicBezTo>
                    <a:pt x="167205" y="24696"/>
                    <a:pt x="158585" y="15498"/>
                    <a:pt x="147303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2" y="26712"/>
                    <a:pt x="43608" y="38304"/>
                  </a:cubicBezTo>
                  <a:lnTo>
                    <a:pt x="40946" y="38304"/>
                  </a:lnTo>
                  <a:lnTo>
                    <a:pt x="40946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1" y="220626"/>
                  </a:lnTo>
                  <a:lnTo>
                    <a:pt x="42721" y="91350"/>
                  </a:lnTo>
                  <a:cubicBezTo>
                    <a:pt x="42721" y="79884"/>
                    <a:pt x="44875" y="69930"/>
                    <a:pt x="49312" y="61740"/>
                  </a:cubicBezTo>
                  <a:cubicBezTo>
                    <a:pt x="53749" y="53550"/>
                    <a:pt x="59707" y="47376"/>
                    <a:pt x="67440" y="43092"/>
                  </a:cubicBezTo>
                  <a:cubicBezTo>
                    <a:pt x="75173" y="38808"/>
                    <a:pt x="83920" y="36666"/>
                    <a:pt x="93807" y="36666"/>
                  </a:cubicBezTo>
                  <a:cubicBezTo>
                    <a:pt x="108258" y="36666"/>
                    <a:pt x="119667" y="41076"/>
                    <a:pt x="127907" y="50022"/>
                  </a:cubicBezTo>
                  <a:cubicBezTo>
                    <a:pt x="136147" y="58968"/>
                    <a:pt x="140330" y="71316"/>
                    <a:pt x="140330" y="87066"/>
                  </a:cubicBezTo>
                  <a:lnTo>
                    <a:pt x="140330" y="220500"/>
                  </a:lnTo>
                  <a:lnTo>
                    <a:pt x="182670" y="22050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9" name="Freihandform 25">
              <a:extLst>
                <a:ext uri="{FF2B5EF4-FFF2-40B4-BE49-F238E27FC236}">
                  <a16:creationId xmlns:a16="http://schemas.microsoft.com/office/drawing/2014/main" id="{DCDE3BF8-38D7-49D1-99BC-C197D071097F}"/>
                </a:ext>
              </a:extLst>
            </p:cNvPr>
            <p:cNvSpPr/>
            <p:nvPr/>
          </p:nvSpPr>
          <p:spPr bwMode="invGray">
            <a:xfrm>
              <a:off x="1572634" y="287797"/>
              <a:ext cx="43766" cy="66974"/>
            </a:xfrm>
            <a:custGeom>
              <a:avLst/>
              <a:gdLst>
                <a:gd name="connsiteX0" fmla="*/ 158585 w 200163"/>
                <a:gd name="connsiteY0" fmla="*/ 2772 h 306306"/>
                <a:gd name="connsiteX1" fmla="*/ 158585 w 200163"/>
                <a:gd name="connsiteY1" fmla="*/ 38052 h 306306"/>
                <a:gd name="connsiteX2" fmla="*/ 155415 w 200163"/>
                <a:gd name="connsiteY2" fmla="*/ 38052 h 306306"/>
                <a:gd name="connsiteX3" fmla="*/ 144513 w 200163"/>
                <a:gd name="connsiteY3" fmla="*/ 22302 h 306306"/>
                <a:gd name="connsiteX4" fmla="*/ 124865 w 200163"/>
                <a:gd name="connsiteY4" fmla="*/ 6678 h 306306"/>
                <a:gd name="connsiteX5" fmla="*/ 91905 w 200163"/>
                <a:gd name="connsiteY5" fmla="*/ 0 h 306306"/>
                <a:gd name="connsiteX6" fmla="*/ 44622 w 200163"/>
                <a:gd name="connsiteY6" fmla="*/ 13230 h 306306"/>
                <a:gd name="connsiteX7" fmla="*/ 11916 w 200163"/>
                <a:gd name="connsiteY7" fmla="*/ 51282 h 306306"/>
                <a:gd name="connsiteX8" fmla="*/ 0 w 200163"/>
                <a:gd name="connsiteY8" fmla="*/ 110880 h 306306"/>
                <a:gd name="connsiteX9" fmla="*/ 12043 w 200163"/>
                <a:gd name="connsiteY9" fmla="*/ 169344 h 306306"/>
                <a:gd name="connsiteX10" fmla="*/ 44875 w 200163"/>
                <a:gd name="connsiteY10" fmla="*/ 205254 h 306306"/>
                <a:gd name="connsiteX11" fmla="*/ 91525 w 200163"/>
                <a:gd name="connsiteY11" fmla="*/ 217350 h 306306"/>
                <a:gd name="connsiteX12" fmla="*/ 124231 w 200163"/>
                <a:gd name="connsiteY12" fmla="*/ 211050 h 306306"/>
                <a:gd name="connsiteX13" fmla="*/ 144006 w 200163"/>
                <a:gd name="connsiteY13" fmla="*/ 196308 h 306306"/>
                <a:gd name="connsiteX14" fmla="*/ 155035 w 200163"/>
                <a:gd name="connsiteY14" fmla="*/ 180810 h 306306"/>
                <a:gd name="connsiteX15" fmla="*/ 157697 w 200163"/>
                <a:gd name="connsiteY15" fmla="*/ 180810 h 306306"/>
                <a:gd name="connsiteX16" fmla="*/ 157697 w 200163"/>
                <a:gd name="connsiteY16" fmla="*/ 223650 h 306306"/>
                <a:gd name="connsiteX17" fmla="*/ 141851 w 200163"/>
                <a:gd name="connsiteY17" fmla="*/ 260568 h 306306"/>
                <a:gd name="connsiteX18" fmla="*/ 101793 w 200163"/>
                <a:gd name="connsiteY18" fmla="*/ 272160 h 306306"/>
                <a:gd name="connsiteX19" fmla="*/ 72891 w 200163"/>
                <a:gd name="connsiteY19" fmla="*/ 267246 h 306306"/>
                <a:gd name="connsiteX20" fmla="*/ 55270 w 200163"/>
                <a:gd name="connsiteY20" fmla="*/ 255276 h 306306"/>
                <a:gd name="connsiteX21" fmla="*/ 44875 w 200163"/>
                <a:gd name="connsiteY21" fmla="*/ 242424 h 306306"/>
                <a:gd name="connsiteX22" fmla="*/ 8240 w 200163"/>
                <a:gd name="connsiteY22" fmla="*/ 257418 h 306306"/>
                <a:gd name="connsiteX23" fmla="*/ 25860 w 200163"/>
                <a:gd name="connsiteY23" fmla="*/ 281610 h 306306"/>
                <a:gd name="connsiteX24" fmla="*/ 56411 w 200163"/>
                <a:gd name="connsiteY24" fmla="*/ 299502 h 306306"/>
                <a:gd name="connsiteX25" fmla="*/ 101286 w 200163"/>
                <a:gd name="connsiteY25" fmla="*/ 306306 h 306306"/>
                <a:gd name="connsiteX26" fmla="*/ 151486 w 200163"/>
                <a:gd name="connsiteY26" fmla="*/ 297612 h 306306"/>
                <a:gd name="connsiteX27" fmla="*/ 186980 w 200163"/>
                <a:gd name="connsiteY27" fmla="*/ 271026 h 306306"/>
                <a:gd name="connsiteX28" fmla="*/ 200164 w 200163"/>
                <a:gd name="connsiteY28" fmla="*/ 225288 h 306306"/>
                <a:gd name="connsiteX29" fmla="*/ 200164 w 200163"/>
                <a:gd name="connsiteY29" fmla="*/ 2772 h 306306"/>
                <a:gd name="connsiteX30" fmla="*/ 158585 w 200163"/>
                <a:gd name="connsiteY30" fmla="*/ 2772 h 306306"/>
                <a:gd name="connsiteX31" fmla="*/ 151739 w 200163"/>
                <a:gd name="connsiteY31" fmla="*/ 148932 h 306306"/>
                <a:gd name="connsiteX32" fmla="*/ 132344 w 200163"/>
                <a:gd name="connsiteY32" fmla="*/ 173628 h 306306"/>
                <a:gd name="connsiteX33" fmla="*/ 101160 w 200163"/>
                <a:gd name="connsiteY33" fmla="*/ 182196 h 306306"/>
                <a:gd name="connsiteX34" fmla="*/ 69341 w 200163"/>
                <a:gd name="connsiteY34" fmla="*/ 173124 h 306306"/>
                <a:gd name="connsiteX35" fmla="*/ 49946 w 200163"/>
                <a:gd name="connsiteY35" fmla="*/ 147924 h 306306"/>
                <a:gd name="connsiteX36" fmla="*/ 43354 w 200163"/>
                <a:gd name="connsiteY36" fmla="*/ 110376 h 306306"/>
                <a:gd name="connsiteX37" fmla="*/ 49819 w 200163"/>
                <a:gd name="connsiteY37" fmla="*/ 72702 h 306306"/>
                <a:gd name="connsiteX38" fmla="*/ 69088 w 200163"/>
                <a:gd name="connsiteY38" fmla="*/ 45990 h 306306"/>
                <a:gd name="connsiteX39" fmla="*/ 101160 w 200163"/>
                <a:gd name="connsiteY39" fmla="*/ 36162 h 306306"/>
                <a:gd name="connsiteX40" fmla="*/ 132597 w 200163"/>
                <a:gd name="connsiteY40" fmla="*/ 45612 h 306306"/>
                <a:gd name="connsiteX41" fmla="*/ 151866 w 200163"/>
                <a:gd name="connsiteY41" fmla="*/ 71820 h 306306"/>
                <a:gd name="connsiteX42" fmla="*/ 158458 w 200163"/>
                <a:gd name="connsiteY42" fmla="*/ 110502 h 306306"/>
                <a:gd name="connsiteX43" fmla="*/ 151739 w 200163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163" h="306306">
                  <a:moveTo>
                    <a:pt x="158585" y="2772"/>
                  </a:move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6" y="196308"/>
                  </a:cubicBezTo>
                  <a:cubicBezTo>
                    <a:pt x="148823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2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19921" y="306306"/>
                    <a:pt x="136654" y="303408"/>
                    <a:pt x="151486" y="297612"/>
                  </a:cubicBezTo>
                  <a:cubicBezTo>
                    <a:pt x="166317" y="291816"/>
                    <a:pt x="178233" y="282996"/>
                    <a:pt x="186980" y="271026"/>
                  </a:cubicBezTo>
                  <a:cubicBezTo>
                    <a:pt x="195727" y="259056"/>
                    <a:pt x="200164" y="243810"/>
                    <a:pt x="200164" y="225288"/>
                  </a:cubicBezTo>
                  <a:lnTo>
                    <a:pt x="200164" y="2772"/>
                  </a:lnTo>
                  <a:lnTo>
                    <a:pt x="158585" y="2772"/>
                  </a:lnTo>
                  <a:close/>
                  <a:moveTo>
                    <a:pt x="151739" y="148932"/>
                  </a:moveTo>
                  <a:cubicBezTo>
                    <a:pt x="147302" y="159642"/>
                    <a:pt x="140837" y="167832"/>
                    <a:pt x="132344" y="173628"/>
                  </a:cubicBezTo>
                  <a:cubicBezTo>
                    <a:pt x="123850" y="179298"/>
                    <a:pt x="113456" y="182196"/>
                    <a:pt x="101160" y="182196"/>
                  </a:cubicBezTo>
                  <a:cubicBezTo>
                    <a:pt x="88483" y="182196"/>
                    <a:pt x="77834" y="179172"/>
                    <a:pt x="69341" y="173124"/>
                  </a:cubicBezTo>
                  <a:cubicBezTo>
                    <a:pt x="60848" y="167076"/>
                    <a:pt x="54256" y="158634"/>
                    <a:pt x="49946" y="147924"/>
                  </a:cubicBezTo>
                  <a:cubicBezTo>
                    <a:pt x="45509" y="137088"/>
                    <a:pt x="43354" y="124614"/>
                    <a:pt x="43354" y="110376"/>
                  </a:cubicBezTo>
                  <a:cubicBezTo>
                    <a:pt x="43354" y="96516"/>
                    <a:pt x="45509" y="83916"/>
                    <a:pt x="49819" y="72702"/>
                  </a:cubicBezTo>
                  <a:cubicBezTo>
                    <a:pt x="54129" y="61488"/>
                    <a:pt x="60594" y="52542"/>
                    <a:pt x="69088" y="45990"/>
                  </a:cubicBezTo>
                  <a:cubicBezTo>
                    <a:pt x="77581" y="39438"/>
                    <a:pt x="88356" y="36162"/>
                    <a:pt x="101160" y="36162"/>
                  </a:cubicBezTo>
                  <a:cubicBezTo>
                    <a:pt x="113582" y="36162"/>
                    <a:pt x="124104" y="39312"/>
                    <a:pt x="132597" y="45612"/>
                  </a:cubicBezTo>
                  <a:cubicBezTo>
                    <a:pt x="141091" y="51912"/>
                    <a:pt x="147429" y="60606"/>
                    <a:pt x="151866" y="71820"/>
                  </a:cubicBezTo>
                  <a:cubicBezTo>
                    <a:pt x="156176" y="83034"/>
                    <a:pt x="158458" y="95886"/>
                    <a:pt x="158458" y="110502"/>
                  </a:cubicBezTo>
                  <a:cubicBezTo>
                    <a:pt x="158331" y="125370"/>
                    <a:pt x="156176" y="138222"/>
                    <a:pt x="151739" y="14893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0" name="Freihandform 26">
              <a:extLst>
                <a:ext uri="{FF2B5EF4-FFF2-40B4-BE49-F238E27FC236}">
                  <a16:creationId xmlns:a16="http://schemas.microsoft.com/office/drawing/2014/main" id="{D35E5E15-C461-4439-AC18-BA347E8E9B02}"/>
                </a:ext>
              </a:extLst>
            </p:cNvPr>
            <p:cNvSpPr/>
            <p:nvPr/>
          </p:nvSpPr>
          <p:spPr bwMode="invGray">
            <a:xfrm>
              <a:off x="1125303" y="358490"/>
              <a:ext cx="29408" cy="66478"/>
            </a:xfrm>
            <a:custGeom>
              <a:avLst/>
              <a:gdLst>
                <a:gd name="connsiteX0" fmla="*/ 33974 w 134499"/>
                <a:gd name="connsiteY0" fmla="*/ 304038 h 304038"/>
                <a:gd name="connsiteX1" fmla="*/ 76567 w 134499"/>
                <a:gd name="connsiteY1" fmla="*/ 304038 h 304038"/>
                <a:gd name="connsiteX2" fmla="*/ 76567 w 134499"/>
                <a:gd name="connsiteY2" fmla="*/ 120204 h 304038"/>
                <a:gd name="connsiteX3" fmla="*/ 123851 w 134499"/>
                <a:gd name="connsiteY3" fmla="*/ 120204 h 304038"/>
                <a:gd name="connsiteX4" fmla="*/ 123851 w 134499"/>
                <a:gd name="connsiteY4" fmla="*/ 86184 h 304038"/>
                <a:gd name="connsiteX5" fmla="*/ 76567 w 134499"/>
                <a:gd name="connsiteY5" fmla="*/ 86184 h 304038"/>
                <a:gd name="connsiteX6" fmla="*/ 76567 w 134499"/>
                <a:gd name="connsiteY6" fmla="*/ 66654 h 304038"/>
                <a:gd name="connsiteX7" fmla="*/ 83159 w 134499"/>
                <a:gd name="connsiteY7" fmla="*/ 44478 h 304038"/>
                <a:gd name="connsiteX8" fmla="*/ 105343 w 134499"/>
                <a:gd name="connsiteY8" fmla="*/ 36792 h 304038"/>
                <a:gd name="connsiteX9" fmla="*/ 116752 w 134499"/>
                <a:gd name="connsiteY9" fmla="*/ 38052 h 304038"/>
                <a:gd name="connsiteX10" fmla="*/ 124484 w 134499"/>
                <a:gd name="connsiteY10" fmla="*/ 40068 h 304038"/>
                <a:gd name="connsiteX11" fmla="*/ 134499 w 134499"/>
                <a:gd name="connsiteY11" fmla="*/ 5796 h 304038"/>
                <a:gd name="connsiteX12" fmla="*/ 120935 w 134499"/>
                <a:gd name="connsiteY12" fmla="*/ 2016 h 304038"/>
                <a:gd name="connsiteX13" fmla="*/ 99005 w 134499"/>
                <a:gd name="connsiteY13" fmla="*/ 0 h 304038"/>
                <a:gd name="connsiteX14" fmla="*/ 66806 w 134499"/>
                <a:gd name="connsiteY14" fmla="*/ 6804 h 304038"/>
                <a:gd name="connsiteX15" fmla="*/ 42974 w 134499"/>
                <a:gd name="connsiteY15" fmla="*/ 27090 h 304038"/>
                <a:gd name="connsiteX16" fmla="*/ 33974 w 134499"/>
                <a:gd name="connsiteY16" fmla="*/ 60984 h 304038"/>
                <a:gd name="connsiteX17" fmla="*/ 33974 w 134499"/>
                <a:gd name="connsiteY17" fmla="*/ 86184 h 304038"/>
                <a:gd name="connsiteX18" fmla="*/ 0 w 134499"/>
                <a:gd name="connsiteY18" fmla="*/ 86184 h 304038"/>
                <a:gd name="connsiteX19" fmla="*/ 0 w 134499"/>
                <a:gd name="connsiteY19" fmla="*/ 120204 h 304038"/>
                <a:gd name="connsiteX20" fmla="*/ 33974 w 134499"/>
                <a:gd name="connsiteY20" fmla="*/ 120204 h 304038"/>
                <a:gd name="connsiteX21" fmla="*/ 33974 w 134499"/>
                <a:gd name="connsiteY21" fmla="*/ 304038 h 304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4499" h="304038">
                  <a:moveTo>
                    <a:pt x="33974" y="304038"/>
                  </a:moveTo>
                  <a:lnTo>
                    <a:pt x="76567" y="304038"/>
                  </a:lnTo>
                  <a:lnTo>
                    <a:pt x="76567" y="120204"/>
                  </a:lnTo>
                  <a:lnTo>
                    <a:pt x="123851" y="120204"/>
                  </a:lnTo>
                  <a:lnTo>
                    <a:pt x="123851" y="86184"/>
                  </a:lnTo>
                  <a:lnTo>
                    <a:pt x="76567" y="86184"/>
                  </a:lnTo>
                  <a:lnTo>
                    <a:pt x="76567" y="66654"/>
                  </a:lnTo>
                  <a:cubicBezTo>
                    <a:pt x="76567" y="56952"/>
                    <a:pt x="78849" y="49644"/>
                    <a:pt x="83159" y="44478"/>
                  </a:cubicBezTo>
                  <a:cubicBezTo>
                    <a:pt x="87595" y="39438"/>
                    <a:pt x="94948" y="36792"/>
                    <a:pt x="105343" y="36792"/>
                  </a:cubicBezTo>
                  <a:cubicBezTo>
                    <a:pt x="109780" y="36792"/>
                    <a:pt x="113583" y="37170"/>
                    <a:pt x="116752" y="38052"/>
                  </a:cubicBezTo>
                  <a:cubicBezTo>
                    <a:pt x="119921" y="38808"/>
                    <a:pt x="122456" y="39564"/>
                    <a:pt x="124484" y="40068"/>
                  </a:cubicBezTo>
                  <a:lnTo>
                    <a:pt x="134499" y="5796"/>
                  </a:lnTo>
                  <a:cubicBezTo>
                    <a:pt x="131583" y="4662"/>
                    <a:pt x="127020" y="3402"/>
                    <a:pt x="120935" y="2016"/>
                  </a:cubicBezTo>
                  <a:cubicBezTo>
                    <a:pt x="114851" y="630"/>
                    <a:pt x="107498" y="0"/>
                    <a:pt x="99005" y="0"/>
                  </a:cubicBezTo>
                  <a:cubicBezTo>
                    <a:pt x="87469" y="0"/>
                    <a:pt x="76694" y="2268"/>
                    <a:pt x="66806" y="6804"/>
                  </a:cubicBezTo>
                  <a:cubicBezTo>
                    <a:pt x="56918" y="11340"/>
                    <a:pt x="48932" y="18018"/>
                    <a:pt x="42974" y="27090"/>
                  </a:cubicBezTo>
                  <a:cubicBezTo>
                    <a:pt x="37016" y="36162"/>
                    <a:pt x="33974" y="47376"/>
                    <a:pt x="33974" y="60984"/>
                  </a:cubicBezTo>
                  <a:lnTo>
                    <a:pt x="33974" y="86184"/>
                  </a:lnTo>
                  <a:lnTo>
                    <a:pt x="0" y="86184"/>
                  </a:lnTo>
                  <a:lnTo>
                    <a:pt x="0" y="120204"/>
                  </a:lnTo>
                  <a:lnTo>
                    <a:pt x="33974" y="120204"/>
                  </a:lnTo>
                  <a:lnTo>
                    <a:pt x="33974" y="30403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1" name="Freihandform 27">
              <a:extLst>
                <a:ext uri="{FF2B5EF4-FFF2-40B4-BE49-F238E27FC236}">
                  <a16:creationId xmlns:a16="http://schemas.microsoft.com/office/drawing/2014/main" id="{6C5BF7EA-6C05-489E-9BEF-0CFEC8C016FB}"/>
                </a:ext>
              </a:extLst>
            </p:cNvPr>
            <p:cNvSpPr/>
            <p:nvPr/>
          </p:nvSpPr>
          <p:spPr bwMode="invGray">
            <a:xfrm>
              <a:off x="1159174" y="376728"/>
              <a:ext cx="44625" cy="49176"/>
            </a:xfrm>
            <a:custGeom>
              <a:avLst/>
              <a:gdLst>
                <a:gd name="connsiteX0" fmla="*/ 204094 w 204093"/>
                <a:gd name="connsiteY0" fmla="*/ 112644 h 224909"/>
                <a:gd name="connsiteX1" fmla="*/ 191417 w 204093"/>
                <a:gd name="connsiteY1" fmla="*/ 53424 h 224909"/>
                <a:gd name="connsiteX2" fmla="*/ 155796 w 204093"/>
                <a:gd name="connsiteY2" fmla="*/ 13986 h 224909"/>
                <a:gd name="connsiteX3" fmla="*/ 102047 w 204093"/>
                <a:gd name="connsiteY3" fmla="*/ 0 h 224909"/>
                <a:gd name="connsiteX4" fmla="*/ 48298 w 204093"/>
                <a:gd name="connsiteY4" fmla="*/ 13986 h 224909"/>
                <a:gd name="connsiteX5" fmla="*/ 12677 w 204093"/>
                <a:gd name="connsiteY5" fmla="*/ 53424 h 224909"/>
                <a:gd name="connsiteX6" fmla="*/ 0 w 204093"/>
                <a:gd name="connsiteY6" fmla="*/ 112644 h 224909"/>
                <a:gd name="connsiteX7" fmla="*/ 12677 w 204093"/>
                <a:gd name="connsiteY7" fmla="*/ 171612 h 224909"/>
                <a:gd name="connsiteX8" fmla="*/ 48298 w 204093"/>
                <a:gd name="connsiteY8" fmla="*/ 210924 h 224909"/>
                <a:gd name="connsiteX9" fmla="*/ 102047 w 204093"/>
                <a:gd name="connsiteY9" fmla="*/ 224910 h 224909"/>
                <a:gd name="connsiteX10" fmla="*/ 155796 w 204093"/>
                <a:gd name="connsiteY10" fmla="*/ 210924 h 224909"/>
                <a:gd name="connsiteX11" fmla="*/ 191417 w 204093"/>
                <a:gd name="connsiteY11" fmla="*/ 171612 h 224909"/>
                <a:gd name="connsiteX12" fmla="*/ 204094 w 204093"/>
                <a:gd name="connsiteY12" fmla="*/ 112644 h 224909"/>
                <a:gd name="connsiteX13" fmla="*/ 154655 w 204093"/>
                <a:gd name="connsiteY13" fmla="*/ 150948 h 224909"/>
                <a:gd name="connsiteX14" fmla="*/ 135133 w 204093"/>
                <a:gd name="connsiteY14" fmla="*/ 178920 h 224909"/>
                <a:gd name="connsiteX15" fmla="*/ 102047 w 204093"/>
                <a:gd name="connsiteY15" fmla="*/ 189378 h 224909"/>
                <a:gd name="connsiteX16" fmla="*/ 68707 w 204093"/>
                <a:gd name="connsiteY16" fmla="*/ 178920 h 224909"/>
                <a:gd name="connsiteX17" fmla="*/ 49185 w 204093"/>
                <a:gd name="connsiteY17" fmla="*/ 150948 h 224909"/>
                <a:gd name="connsiteX18" fmla="*/ 42847 w 204093"/>
                <a:gd name="connsiteY18" fmla="*/ 112518 h 224909"/>
                <a:gd name="connsiteX19" fmla="*/ 49185 w 204093"/>
                <a:gd name="connsiteY19" fmla="*/ 74214 h 224909"/>
                <a:gd name="connsiteX20" fmla="*/ 68707 w 204093"/>
                <a:gd name="connsiteY20" fmla="*/ 46116 h 224909"/>
                <a:gd name="connsiteX21" fmla="*/ 102047 w 204093"/>
                <a:gd name="connsiteY21" fmla="*/ 35532 h 224909"/>
                <a:gd name="connsiteX22" fmla="*/ 135133 w 204093"/>
                <a:gd name="connsiteY22" fmla="*/ 46116 h 224909"/>
                <a:gd name="connsiteX23" fmla="*/ 154655 w 204093"/>
                <a:gd name="connsiteY23" fmla="*/ 74214 h 224909"/>
                <a:gd name="connsiteX24" fmla="*/ 160993 w 204093"/>
                <a:gd name="connsiteY24" fmla="*/ 112518 h 224909"/>
                <a:gd name="connsiteX25" fmla="*/ 154655 w 204093"/>
                <a:gd name="connsiteY25" fmla="*/ 150948 h 22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09">
                  <a:moveTo>
                    <a:pt x="204094" y="112644"/>
                  </a:moveTo>
                  <a:cubicBezTo>
                    <a:pt x="204094" y="90090"/>
                    <a:pt x="199911" y="70308"/>
                    <a:pt x="191417" y="53424"/>
                  </a:cubicBezTo>
                  <a:cubicBezTo>
                    <a:pt x="182924" y="36540"/>
                    <a:pt x="171008" y="23436"/>
                    <a:pt x="155796" y="13986"/>
                  </a:cubicBez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7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4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7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1" y="154854"/>
                    <a:pt x="204094" y="135198"/>
                    <a:pt x="204094" y="112644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10" y="189378"/>
                    <a:pt x="77581" y="185850"/>
                    <a:pt x="68707" y="178920"/>
                  </a:cubicBezTo>
                  <a:cubicBezTo>
                    <a:pt x="59961" y="171990"/>
                    <a:pt x="53369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9" y="62496"/>
                    <a:pt x="59961" y="53172"/>
                    <a:pt x="68707" y="46116"/>
                  </a:cubicBezTo>
                  <a:cubicBezTo>
                    <a:pt x="77454" y="39060"/>
                    <a:pt x="88610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2" name="Freihandform 28">
              <a:extLst>
                <a:ext uri="{FF2B5EF4-FFF2-40B4-BE49-F238E27FC236}">
                  <a16:creationId xmlns:a16="http://schemas.microsoft.com/office/drawing/2014/main" id="{6EFBF79A-4A51-48BF-89A7-AA431ACDE9A8}"/>
                </a:ext>
              </a:extLst>
            </p:cNvPr>
            <p:cNvSpPr/>
            <p:nvPr/>
          </p:nvSpPr>
          <p:spPr bwMode="invGray">
            <a:xfrm>
              <a:off x="1213472" y="376618"/>
              <a:ext cx="25638" cy="48323"/>
            </a:xfrm>
            <a:custGeom>
              <a:avLst/>
              <a:gdLst>
                <a:gd name="connsiteX0" fmla="*/ 41199 w 117258"/>
                <a:gd name="connsiteY0" fmla="*/ 3276 h 221004"/>
                <a:gd name="connsiteX1" fmla="*/ 0 w 117258"/>
                <a:gd name="connsiteY1" fmla="*/ 3276 h 221004"/>
                <a:gd name="connsiteX2" fmla="*/ 0 w 117258"/>
                <a:gd name="connsiteY2" fmla="*/ 221004 h 221004"/>
                <a:gd name="connsiteX3" fmla="*/ 42720 w 117258"/>
                <a:gd name="connsiteY3" fmla="*/ 221004 h 221004"/>
                <a:gd name="connsiteX4" fmla="*/ 42720 w 117258"/>
                <a:gd name="connsiteY4" fmla="*/ 88074 h 221004"/>
                <a:gd name="connsiteX5" fmla="*/ 49565 w 117258"/>
                <a:gd name="connsiteY5" fmla="*/ 62748 h 221004"/>
                <a:gd name="connsiteX6" fmla="*/ 68200 w 117258"/>
                <a:gd name="connsiteY6" fmla="*/ 45360 h 221004"/>
                <a:gd name="connsiteX7" fmla="*/ 95075 w 117258"/>
                <a:gd name="connsiteY7" fmla="*/ 39060 h 221004"/>
                <a:gd name="connsiteX8" fmla="*/ 108132 w 117258"/>
                <a:gd name="connsiteY8" fmla="*/ 39942 h 221004"/>
                <a:gd name="connsiteX9" fmla="*/ 117259 w 117258"/>
                <a:gd name="connsiteY9" fmla="*/ 41580 h 221004"/>
                <a:gd name="connsiteX10" fmla="*/ 117259 w 117258"/>
                <a:gd name="connsiteY10" fmla="*/ 1008 h 221004"/>
                <a:gd name="connsiteX11" fmla="*/ 108638 w 117258"/>
                <a:gd name="connsiteY11" fmla="*/ 252 h 221004"/>
                <a:gd name="connsiteX12" fmla="*/ 99131 w 117258"/>
                <a:gd name="connsiteY12" fmla="*/ 0 h 221004"/>
                <a:gd name="connsiteX13" fmla="*/ 64650 w 117258"/>
                <a:gd name="connsiteY13" fmla="*/ 10080 h 221004"/>
                <a:gd name="connsiteX14" fmla="*/ 43481 w 117258"/>
                <a:gd name="connsiteY14" fmla="*/ 37800 h 221004"/>
                <a:gd name="connsiteX15" fmla="*/ 41199 w 117258"/>
                <a:gd name="connsiteY15" fmla="*/ 37800 h 221004"/>
                <a:gd name="connsiteX16" fmla="*/ 41199 w 117258"/>
                <a:gd name="connsiteY16" fmla="*/ 3276 h 221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4">
                  <a:moveTo>
                    <a:pt x="41199" y="3276"/>
                  </a:move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5" y="62748"/>
                  </a:cubicBezTo>
                  <a:cubicBezTo>
                    <a:pt x="54129" y="55314"/>
                    <a:pt x="60340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1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8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0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3" name="Freihandform 29">
              <a:extLst>
                <a:ext uri="{FF2B5EF4-FFF2-40B4-BE49-F238E27FC236}">
                  <a16:creationId xmlns:a16="http://schemas.microsoft.com/office/drawing/2014/main" id="{87888852-2BFD-4EEE-8AB2-7E8FD59E1AB6}"/>
                </a:ext>
              </a:extLst>
            </p:cNvPr>
            <p:cNvSpPr/>
            <p:nvPr/>
          </p:nvSpPr>
          <p:spPr bwMode="invGray">
            <a:xfrm>
              <a:off x="1266856" y="376728"/>
              <a:ext cx="39857" cy="49314"/>
            </a:xfrm>
            <a:custGeom>
              <a:avLst/>
              <a:gdLst>
                <a:gd name="connsiteX0" fmla="*/ 152627 w 182289"/>
                <a:gd name="connsiteY0" fmla="*/ 14112 h 225539"/>
                <a:gd name="connsiteX1" fmla="*/ 124992 w 182289"/>
                <a:gd name="connsiteY1" fmla="*/ 3024 h 225539"/>
                <a:gd name="connsiteX2" fmla="*/ 97103 w 182289"/>
                <a:gd name="connsiteY2" fmla="*/ 0 h 225539"/>
                <a:gd name="connsiteX3" fmla="*/ 59326 w 182289"/>
                <a:gd name="connsiteY3" fmla="*/ 5544 h 225539"/>
                <a:gd name="connsiteX4" fmla="*/ 27635 w 182289"/>
                <a:gd name="connsiteY4" fmla="*/ 23436 h 225539"/>
                <a:gd name="connsiteX5" fmla="*/ 6719 w 182289"/>
                <a:gd name="connsiteY5" fmla="*/ 55566 h 225539"/>
                <a:gd name="connsiteX6" fmla="*/ 46777 w 182289"/>
                <a:gd name="connsiteY6" fmla="*/ 64638 h 225539"/>
                <a:gd name="connsiteX7" fmla="*/ 63890 w 182289"/>
                <a:gd name="connsiteY7" fmla="*/ 43722 h 225539"/>
                <a:gd name="connsiteX8" fmla="*/ 97737 w 182289"/>
                <a:gd name="connsiteY8" fmla="*/ 34272 h 225539"/>
                <a:gd name="connsiteX9" fmla="*/ 128921 w 182289"/>
                <a:gd name="connsiteY9" fmla="*/ 44478 h 225539"/>
                <a:gd name="connsiteX10" fmla="*/ 139443 w 182289"/>
                <a:gd name="connsiteY10" fmla="*/ 73332 h 225539"/>
                <a:gd name="connsiteX11" fmla="*/ 139443 w 182289"/>
                <a:gd name="connsiteY11" fmla="*/ 74340 h 225539"/>
                <a:gd name="connsiteX12" fmla="*/ 133865 w 182289"/>
                <a:gd name="connsiteY12" fmla="*/ 85428 h 225539"/>
                <a:gd name="connsiteX13" fmla="*/ 115991 w 182289"/>
                <a:gd name="connsiteY13" fmla="*/ 90342 h 225539"/>
                <a:gd name="connsiteX14" fmla="*/ 84046 w 182289"/>
                <a:gd name="connsiteY14" fmla="*/ 94122 h 225539"/>
                <a:gd name="connsiteX15" fmla="*/ 53495 w 182289"/>
                <a:gd name="connsiteY15" fmla="*/ 99540 h 225539"/>
                <a:gd name="connsiteX16" fmla="*/ 26368 w 182289"/>
                <a:gd name="connsiteY16" fmla="*/ 109998 h 225539"/>
                <a:gd name="connsiteX17" fmla="*/ 7099 w 182289"/>
                <a:gd name="connsiteY17" fmla="*/ 128898 h 225539"/>
                <a:gd name="connsiteX18" fmla="*/ 0 w 182289"/>
                <a:gd name="connsiteY18" fmla="*/ 159264 h 225539"/>
                <a:gd name="connsiteX19" fmla="*/ 9761 w 182289"/>
                <a:gd name="connsiteY19" fmla="*/ 195426 h 225539"/>
                <a:gd name="connsiteX20" fmla="*/ 36382 w 182289"/>
                <a:gd name="connsiteY20" fmla="*/ 217854 h 225539"/>
                <a:gd name="connsiteX21" fmla="*/ 74031 w 182289"/>
                <a:gd name="connsiteY21" fmla="*/ 225540 h 225539"/>
                <a:gd name="connsiteX22" fmla="*/ 105089 w 182289"/>
                <a:gd name="connsiteY22" fmla="*/ 220248 h 225539"/>
                <a:gd name="connsiteX23" fmla="*/ 126386 w 182289"/>
                <a:gd name="connsiteY23" fmla="*/ 207018 h 225539"/>
                <a:gd name="connsiteX24" fmla="*/ 138809 w 182289"/>
                <a:gd name="connsiteY24" fmla="*/ 190890 h 225539"/>
                <a:gd name="connsiteX25" fmla="*/ 140584 w 182289"/>
                <a:gd name="connsiteY25" fmla="*/ 190890 h 225539"/>
                <a:gd name="connsiteX26" fmla="*/ 140584 w 182289"/>
                <a:gd name="connsiteY26" fmla="*/ 220626 h 225539"/>
                <a:gd name="connsiteX27" fmla="*/ 182290 w 182289"/>
                <a:gd name="connsiteY27" fmla="*/ 220626 h 225539"/>
                <a:gd name="connsiteX28" fmla="*/ 182290 w 182289"/>
                <a:gd name="connsiteY28" fmla="*/ 75978 h 225539"/>
                <a:gd name="connsiteX29" fmla="*/ 173923 w 182289"/>
                <a:gd name="connsiteY29" fmla="*/ 37170 h 225539"/>
                <a:gd name="connsiteX30" fmla="*/ 152627 w 182289"/>
                <a:gd name="connsiteY30" fmla="*/ 14112 h 225539"/>
                <a:gd name="connsiteX31" fmla="*/ 139443 w 182289"/>
                <a:gd name="connsiteY31" fmla="*/ 142002 h 225539"/>
                <a:gd name="connsiteX32" fmla="*/ 132851 w 182289"/>
                <a:gd name="connsiteY32" fmla="*/ 166194 h 225539"/>
                <a:gd name="connsiteX33" fmla="*/ 113582 w 182289"/>
                <a:gd name="connsiteY33" fmla="*/ 184464 h 225539"/>
                <a:gd name="connsiteX34" fmla="*/ 83285 w 182289"/>
                <a:gd name="connsiteY34" fmla="*/ 191394 h 225539"/>
                <a:gd name="connsiteX35" fmla="*/ 53495 w 182289"/>
                <a:gd name="connsiteY35" fmla="*/ 183330 h 225539"/>
                <a:gd name="connsiteX36" fmla="*/ 41833 w 182289"/>
                <a:gd name="connsiteY36" fmla="*/ 159642 h 225539"/>
                <a:gd name="connsiteX37" fmla="*/ 47918 w 182289"/>
                <a:gd name="connsiteY37" fmla="*/ 141372 h 225539"/>
                <a:gd name="connsiteX38" fmla="*/ 64144 w 182289"/>
                <a:gd name="connsiteY38" fmla="*/ 130788 h 225539"/>
                <a:gd name="connsiteX39" fmla="*/ 86708 w 182289"/>
                <a:gd name="connsiteY39" fmla="*/ 125496 h 225539"/>
                <a:gd name="connsiteX40" fmla="*/ 99892 w 182289"/>
                <a:gd name="connsiteY40" fmla="*/ 123732 h 225539"/>
                <a:gd name="connsiteX41" fmla="*/ 115991 w 182289"/>
                <a:gd name="connsiteY41" fmla="*/ 121338 h 225539"/>
                <a:gd name="connsiteX42" fmla="*/ 130823 w 182289"/>
                <a:gd name="connsiteY42" fmla="*/ 118062 h 225539"/>
                <a:gd name="connsiteX43" fmla="*/ 139570 w 182289"/>
                <a:gd name="connsiteY43" fmla="*/ 113904 h 225539"/>
                <a:gd name="connsiteX44" fmla="*/ 139570 w 182289"/>
                <a:gd name="connsiteY44" fmla="*/ 142002 h 225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82289" h="225539">
                  <a:moveTo>
                    <a:pt x="152627" y="14112"/>
                  </a:moveTo>
                  <a:cubicBezTo>
                    <a:pt x="144007" y="8694"/>
                    <a:pt x="134753" y="5040"/>
                    <a:pt x="124992" y="3024"/>
                  </a:cubicBezTo>
                  <a:cubicBezTo>
                    <a:pt x="115104" y="1008"/>
                    <a:pt x="105850" y="0"/>
                    <a:pt x="97103" y="0"/>
                  </a:cubicBezTo>
                  <a:cubicBezTo>
                    <a:pt x="83919" y="0"/>
                    <a:pt x="71243" y="1890"/>
                    <a:pt x="59326" y="5544"/>
                  </a:cubicBezTo>
                  <a:cubicBezTo>
                    <a:pt x="47411" y="9324"/>
                    <a:pt x="36762" y="15246"/>
                    <a:pt x="27635" y="23436"/>
                  </a:cubicBezTo>
                  <a:cubicBezTo>
                    <a:pt x="18508" y="31626"/>
                    <a:pt x="11536" y="42336"/>
                    <a:pt x="6719" y="55566"/>
                  </a:cubicBezTo>
                  <a:lnTo>
                    <a:pt x="46777" y="64638"/>
                  </a:lnTo>
                  <a:cubicBezTo>
                    <a:pt x="49946" y="56952"/>
                    <a:pt x="55651" y="50022"/>
                    <a:pt x="63890" y="43722"/>
                  </a:cubicBezTo>
                  <a:cubicBezTo>
                    <a:pt x="72130" y="37422"/>
                    <a:pt x="83412" y="34272"/>
                    <a:pt x="97737" y="34272"/>
                  </a:cubicBezTo>
                  <a:cubicBezTo>
                    <a:pt x="111554" y="34272"/>
                    <a:pt x="121949" y="37674"/>
                    <a:pt x="128921" y="44478"/>
                  </a:cubicBezTo>
                  <a:cubicBezTo>
                    <a:pt x="135893" y="51282"/>
                    <a:pt x="139443" y="60858"/>
                    <a:pt x="139443" y="73332"/>
                  </a:cubicBezTo>
                  <a:lnTo>
                    <a:pt x="139443" y="74340"/>
                  </a:lnTo>
                  <a:cubicBezTo>
                    <a:pt x="139443" y="79380"/>
                    <a:pt x="137668" y="83160"/>
                    <a:pt x="133865" y="85428"/>
                  </a:cubicBezTo>
                  <a:cubicBezTo>
                    <a:pt x="130189" y="87696"/>
                    <a:pt x="124231" y="89334"/>
                    <a:pt x="115991" y="90342"/>
                  </a:cubicBezTo>
                  <a:cubicBezTo>
                    <a:pt x="107751" y="91350"/>
                    <a:pt x="97103" y="92610"/>
                    <a:pt x="84046" y="94122"/>
                  </a:cubicBezTo>
                  <a:cubicBezTo>
                    <a:pt x="73651" y="95382"/>
                    <a:pt x="63510" y="97146"/>
                    <a:pt x="53495" y="99540"/>
                  </a:cubicBezTo>
                  <a:cubicBezTo>
                    <a:pt x="43481" y="101934"/>
                    <a:pt x="34480" y="105462"/>
                    <a:pt x="26368" y="109998"/>
                  </a:cubicBezTo>
                  <a:cubicBezTo>
                    <a:pt x="18254" y="114660"/>
                    <a:pt x="11916" y="120960"/>
                    <a:pt x="7099" y="128898"/>
                  </a:cubicBezTo>
                  <a:cubicBezTo>
                    <a:pt x="2409" y="136836"/>
                    <a:pt x="0" y="146916"/>
                    <a:pt x="0" y="159264"/>
                  </a:cubicBezTo>
                  <a:cubicBezTo>
                    <a:pt x="0" y="173502"/>
                    <a:pt x="3296" y="185598"/>
                    <a:pt x="9761" y="195426"/>
                  </a:cubicBezTo>
                  <a:cubicBezTo>
                    <a:pt x="16226" y="205254"/>
                    <a:pt x="25100" y="212688"/>
                    <a:pt x="36382" y="217854"/>
                  </a:cubicBezTo>
                  <a:cubicBezTo>
                    <a:pt x="47664" y="223020"/>
                    <a:pt x="60087" y="225540"/>
                    <a:pt x="74031" y="225540"/>
                  </a:cubicBezTo>
                  <a:cubicBezTo>
                    <a:pt x="86074" y="225540"/>
                    <a:pt x="96469" y="223776"/>
                    <a:pt x="105089" y="220248"/>
                  </a:cubicBezTo>
                  <a:cubicBezTo>
                    <a:pt x="113709" y="216720"/>
                    <a:pt x="120808" y="212310"/>
                    <a:pt x="126386" y="207018"/>
                  </a:cubicBezTo>
                  <a:cubicBezTo>
                    <a:pt x="131837" y="201726"/>
                    <a:pt x="136020" y="196308"/>
                    <a:pt x="138809" y="190890"/>
                  </a:cubicBezTo>
                  <a:lnTo>
                    <a:pt x="140584" y="190890"/>
                  </a:lnTo>
                  <a:lnTo>
                    <a:pt x="140584" y="220626"/>
                  </a:lnTo>
                  <a:lnTo>
                    <a:pt x="182290" y="220626"/>
                  </a:lnTo>
                  <a:lnTo>
                    <a:pt x="182290" y="75978"/>
                  </a:lnTo>
                  <a:cubicBezTo>
                    <a:pt x="182290" y="60102"/>
                    <a:pt x="179501" y="47124"/>
                    <a:pt x="173923" y="37170"/>
                  </a:cubicBezTo>
                  <a:cubicBezTo>
                    <a:pt x="168219" y="27216"/>
                    <a:pt x="161247" y="19530"/>
                    <a:pt x="152627" y="14112"/>
                  </a:cubicBezTo>
                  <a:close/>
                  <a:moveTo>
                    <a:pt x="139443" y="142002"/>
                  </a:moveTo>
                  <a:cubicBezTo>
                    <a:pt x="139443" y="150570"/>
                    <a:pt x="137161" y="158634"/>
                    <a:pt x="132851" y="166194"/>
                  </a:cubicBezTo>
                  <a:cubicBezTo>
                    <a:pt x="128414" y="173754"/>
                    <a:pt x="122076" y="179802"/>
                    <a:pt x="113582" y="184464"/>
                  </a:cubicBezTo>
                  <a:cubicBezTo>
                    <a:pt x="105216" y="189126"/>
                    <a:pt x="95075" y="191394"/>
                    <a:pt x="83285" y="191394"/>
                  </a:cubicBezTo>
                  <a:cubicBezTo>
                    <a:pt x="71243" y="191394"/>
                    <a:pt x="61228" y="188748"/>
                    <a:pt x="53495" y="183330"/>
                  </a:cubicBezTo>
                  <a:cubicBezTo>
                    <a:pt x="45636" y="178038"/>
                    <a:pt x="41833" y="170100"/>
                    <a:pt x="41833" y="159642"/>
                  </a:cubicBezTo>
                  <a:cubicBezTo>
                    <a:pt x="41833" y="152082"/>
                    <a:pt x="43861" y="146034"/>
                    <a:pt x="47918" y="141372"/>
                  </a:cubicBezTo>
                  <a:cubicBezTo>
                    <a:pt x="51974" y="136836"/>
                    <a:pt x="57425" y="133308"/>
                    <a:pt x="64144" y="130788"/>
                  </a:cubicBezTo>
                  <a:cubicBezTo>
                    <a:pt x="70989" y="128394"/>
                    <a:pt x="78468" y="126630"/>
                    <a:pt x="86708" y="125496"/>
                  </a:cubicBezTo>
                  <a:cubicBezTo>
                    <a:pt x="90257" y="124992"/>
                    <a:pt x="94567" y="124488"/>
                    <a:pt x="99892" y="123732"/>
                  </a:cubicBezTo>
                  <a:cubicBezTo>
                    <a:pt x="105089" y="122976"/>
                    <a:pt x="110540" y="122220"/>
                    <a:pt x="115991" y="121338"/>
                  </a:cubicBezTo>
                  <a:cubicBezTo>
                    <a:pt x="121442" y="120456"/>
                    <a:pt x="126386" y="119322"/>
                    <a:pt x="130823" y="118062"/>
                  </a:cubicBezTo>
                  <a:cubicBezTo>
                    <a:pt x="135133" y="116802"/>
                    <a:pt x="138049" y="115416"/>
                    <a:pt x="139570" y="113904"/>
                  </a:cubicBezTo>
                  <a:lnTo>
                    <a:pt x="139570" y="14200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4" name="Freihandform 30">
              <a:extLst>
                <a:ext uri="{FF2B5EF4-FFF2-40B4-BE49-F238E27FC236}">
                  <a16:creationId xmlns:a16="http://schemas.microsoft.com/office/drawing/2014/main" id="{4CD6FB8B-DE54-4690-B9D4-F6C26DA2CE2C}"/>
                </a:ext>
              </a:extLst>
            </p:cNvPr>
            <p:cNvSpPr/>
            <p:nvPr/>
          </p:nvSpPr>
          <p:spPr bwMode="invGray">
            <a:xfrm>
              <a:off x="1341693" y="361466"/>
              <a:ext cx="43766" cy="64412"/>
            </a:xfrm>
            <a:custGeom>
              <a:avLst/>
              <a:gdLst>
                <a:gd name="connsiteX0" fmla="*/ 155415 w 200163"/>
                <a:gd name="connsiteY0" fmla="*/ 83034 h 294588"/>
                <a:gd name="connsiteX1" fmla="*/ 108132 w 200163"/>
                <a:gd name="connsiteY1" fmla="*/ 69678 h 294588"/>
                <a:gd name="connsiteX2" fmla="*/ 75299 w 200163"/>
                <a:gd name="connsiteY2" fmla="*/ 76356 h 294588"/>
                <a:gd name="connsiteX3" fmla="*/ 55904 w 200163"/>
                <a:gd name="connsiteY3" fmla="*/ 91980 h 294588"/>
                <a:gd name="connsiteX4" fmla="*/ 45129 w 200163"/>
                <a:gd name="connsiteY4" fmla="*/ 107730 h 294588"/>
                <a:gd name="connsiteX5" fmla="*/ 42594 w 200163"/>
                <a:gd name="connsiteY5" fmla="*/ 107730 h 294588"/>
                <a:gd name="connsiteX6" fmla="*/ 42594 w 200163"/>
                <a:gd name="connsiteY6" fmla="*/ 0 h 294588"/>
                <a:gd name="connsiteX7" fmla="*/ 0 w 200163"/>
                <a:gd name="connsiteY7" fmla="*/ 0 h 294588"/>
                <a:gd name="connsiteX8" fmla="*/ 0 w 200163"/>
                <a:gd name="connsiteY8" fmla="*/ 290304 h 294588"/>
                <a:gd name="connsiteX9" fmla="*/ 41579 w 200163"/>
                <a:gd name="connsiteY9" fmla="*/ 290304 h 294588"/>
                <a:gd name="connsiteX10" fmla="*/ 41579 w 200163"/>
                <a:gd name="connsiteY10" fmla="*/ 256410 h 294588"/>
                <a:gd name="connsiteX11" fmla="*/ 45129 w 200163"/>
                <a:gd name="connsiteY11" fmla="*/ 256410 h 294588"/>
                <a:gd name="connsiteX12" fmla="*/ 56157 w 200163"/>
                <a:gd name="connsiteY12" fmla="*/ 272286 h 294588"/>
                <a:gd name="connsiteX13" fmla="*/ 75933 w 200163"/>
                <a:gd name="connsiteY13" fmla="*/ 287910 h 294588"/>
                <a:gd name="connsiteX14" fmla="*/ 108512 w 200163"/>
                <a:gd name="connsiteY14" fmla="*/ 294588 h 294588"/>
                <a:gd name="connsiteX15" fmla="*/ 155796 w 200163"/>
                <a:gd name="connsiteY15" fmla="*/ 281106 h 294588"/>
                <a:gd name="connsiteX16" fmla="*/ 188375 w 200163"/>
                <a:gd name="connsiteY16" fmla="*/ 242424 h 294588"/>
                <a:gd name="connsiteX17" fmla="*/ 200164 w 200163"/>
                <a:gd name="connsiteY17" fmla="*/ 181944 h 294588"/>
                <a:gd name="connsiteX18" fmla="*/ 188248 w 200163"/>
                <a:gd name="connsiteY18" fmla="*/ 121590 h 294588"/>
                <a:gd name="connsiteX19" fmla="*/ 155415 w 200163"/>
                <a:gd name="connsiteY19" fmla="*/ 83034 h 294588"/>
                <a:gd name="connsiteX20" fmla="*/ 150345 w 200163"/>
                <a:gd name="connsiteY20" fmla="*/ 220752 h 294588"/>
                <a:gd name="connsiteX21" fmla="*/ 130823 w 200163"/>
                <a:gd name="connsiteY21" fmla="*/ 248346 h 294588"/>
                <a:gd name="connsiteX22" fmla="*/ 98878 w 200163"/>
                <a:gd name="connsiteY22" fmla="*/ 258426 h 294588"/>
                <a:gd name="connsiteX23" fmla="*/ 67820 w 200163"/>
                <a:gd name="connsiteY23" fmla="*/ 248724 h 294588"/>
                <a:gd name="connsiteX24" fmla="*/ 48425 w 200163"/>
                <a:gd name="connsiteY24" fmla="*/ 221760 h 294588"/>
                <a:gd name="connsiteX25" fmla="*/ 41706 w 200163"/>
                <a:gd name="connsiteY25" fmla="*/ 181440 h 294588"/>
                <a:gd name="connsiteX26" fmla="*/ 48298 w 200163"/>
                <a:gd name="connsiteY26" fmla="*/ 141750 h 294588"/>
                <a:gd name="connsiteX27" fmla="*/ 67567 w 200163"/>
                <a:gd name="connsiteY27" fmla="*/ 115290 h 294588"/>
                <a:gd name="connsiteX28" fmla="*/ 98878 w 200163"/>
                <a:gd name="connsiteY28" fmla="*/ 105840 h 294588"/>
                <a:gd name="connsiteX29" fmla="*/ 131076 w 200163"/>
                <a:gd name="connsiteY29" fmla="*/ 115794 h 294588"/>
                <a:gd name="connsiteX30" fmla="*/ 150471 w 200163"/>
                <a:gd name="connsiteY30" fmla="*/ 142884 h 294588"/>
                <a:gd name="connsiteX31" fmla="*/ 156937 w 200163"/>
                <a:gd name="connsiteY31" fmla="*/ 181566 h 294588"/>
                <a:gd name="connsiteX32" fmla="*/ 150345 w 200163"/>
                <a:gd name="connsiteY32" fmla="*/ 220752 h 29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163" h="294588">
                  <a:moveTo>
                    <a:pt x="155415" y="83034"/>
                  </a:moveTo>
                  <a:cubicBezTo>
                    <a:pt x="141598" y="74214"/>
                    <a:pt x="125752" y="69678"/>
                    <a:pt x="108132" y="69678"/>
                  </a:cubicBezTo>
                  <a:cubicBezTo>
                    <a:pt x="94567" y="69678"/>
                    <a:pt x="83539" y="71946"/>
                    <a:pt x="75299" y="76356"/>
                  </a:cubicBezTo>
                  <a:cubicBezTo>
                    <a:pt x="66933" y="80892"/>
                    <a:pt x="60468" y="86058"/>
                    <a:pt x="55904" y="91980"/>
                  </a:cubicBezTo>
                  <a:cubicBezTo>
                    <a:pt x="51214" y="97902"/>
                    <a:pt x="47664" y="103194"/>
                    <a:pt x="45129" y="107730"/>
                  </a:cubicBezTo>
                  <a:lnTo>
                    <a:pt x="42594" y="107730"/>
                  </a:lnTo>
                  <a:lnTo>
                    <a:pt x="42594" y="0"/>
                  </a:lnTo>
                  <a:lnTo>
                    <a:pt x="0" y="0"/>
                  </a:lnTo>
                  <a:lnTo>
                    <a:pt x="0" y="290304"/>
                  </a:lnTo>
                  <a:lnTo>
                    <a:pt x="41579" y="290304"/>
                  </a:lnTo>
                  <a:lnTo>
                    <a:pt x="41579" y="256410"/>
                  </a:lnTo>
                  <a:lnTo>
                    <a:pt x="45129" y="256410"/>
                  </a:lnTo>
                  <a:cubicBezTo>
                    <a:pt x="47664" y="261072"/>
                    <a:pt x="51341" y="266364"/>
                    <a:pt x="56157" y="272286"/>
                  </a:cubicBezTo>
                  <a:cubicBezTo>
                    <a:pt x="60848" y="278208"/>
                    <a:pt x="67567" y="283500"/>
                    <a:pt x="75933" y="287910"/>
                  </a:cubicBezTo>
                  <a:cubicBezTo>
                    <a:pt x="84299" y="292320"/>
                    <a:pt x="95202" y="294588"/>
                    <a:pt x="108512" y="294588"/>
                  </a:cubicBezTo>
                  <a:cubicBezTo>
                    <a:pt x="126133" y="294588"/>
                    <a:pt x="141978" y="290052"/>
                    <a:pt x="155796" y="281106"/>
                  </a:cubicBezTo>
                  <a:cubicBezTo>
                    <a:pt x="169613" y="272034"/>
                    <a:pt x="180388" y="259182"/>
                    <a:pt x="188375" y="242424"/>
                  </a:cubicBezTo>
                  <a:cubicBezTo>
                    <a:pt x="196234" y="225666"/>
                    <a:pt x="200164" y="205506"/>
                    <a:pt x="200164" y="181944"/>
                  </a:cubicBezTo>
                  <a:cubicBezTo>
                    <a:pt x="200164" y="158382"/>
                    <a:pt x="196234" y="138222"/>
                    <a:pt x="188248" y="121590"/>
                  </a:cubicBezTo>
                  <a:cubicBezTo>
                    <a:pt x="180262" y="104832"/>
                    <a:pt x="169360" y="91980"/>
                    <a:pt x="155415" y="83034"/>
                  </a:cubicBezTo>
                  <a:close/>
                  <a:moveTo>
                    <a:pt x="150345" y="220752"/>
                  </a:moveTo>
                  <a:cubicBezTo>
                    <a:pt x="145908" y="232344"/>
                    <a:pt x="139443" y="241542"/>
                    <a:pt x="130823" y="248346"/>
                  </a:cubicBezTo>
                  <a:cubicBezTo>
                    <a:pt x="122329" y="255150"/>
                    <a:pt x="111554" y="258426"/>
                    <a:pt x="98878" y="258426"/>
                  </a:cubicBezTo>
                  <a:cubicBezTo>
                    <a:pt x="86582" y="258426"/>
                    <a:pt x="76313" y="255150"/>
                    <a:pt x="67820" y="248724"/>
                  </a:cubicBezTo>
                  <a:cubicBezTo>
                    <a:pt x="59326" y="242298"/>
                    <a:pt x="52862" y="233226"/>
                    <a:pt x="48425" y="221760"/>
                  </a:cubicBezTo>
                  <a:cubicBezTo>
                    <a:pt x="43988" y="210294"/>
                    <a:pt x="41706" y="196812"/>
                    <a:pt x="41706" y="181440"/>
                  </a:cubicBezTo>
                  <a:cubicBezTo>
                    <a:pt x="41706" y="166320"/>
                    <a:pt x="43861" y="153090"/>
                    <a:pt x="48298" y="141750"/>
                  </a:cubicBezTo>
                  <a:cubicBezTo>
                    <a:pt x="52608" y="130410"/>
                    <a:pt x="59073" y="121590"/>
                    <a:pt x="67567" y="115290"/>
                  </a:cubicBezTo>
                  <a:cubicBezTo>
                    <a:pt x="76060" y="108990"/>
                    <a:pt x="86455" y="105840"/>
                    <a:pt x="98878" y="105840"/>
                  </a:cubicBezTo>
                  <a:cubicBezTo>
                    <a:pt x="111681" y="105840"/>
                    <a:pt x="122456" y="109116"/>
                    <a:pt x="131076" y="115794"/>
                  </a:cubicBezTo>
                  <a:cubicBezTo>
                    <a:pt x="139697" y="122472"/>
                    <a:pt x="146161" y="131418"/>
                    <a:pt x="150471" y="142884"/>
                  </a:cubicBezTo>
                  <a:cubicBezTo>
                    <a:pt x="154781" y="154350"/>
                    <a:pt x="156937" y="167202"/>
                    <a:pt x="156937" y="181566"/>
                  </a:cubicBezTo>
                  <a:cubicBezTo>
                    <a:pt x="156937" y="196056"/>
                    <a:pt x="154781" y="209160"/>
                    <a:pt x="150345" y="2207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5" name="Freihandform 31">
              <a:extLst>
                <a:ext uri="{FF2B5EF4-FFF2-40B4-BE49-F238E27FC236}">
                  <a16:creationId xmlns:a16="http://schemas.microsoft.com/office/drawing/2014/main" id="{0776F73C-2EA7-438E-9F38-7669ABC7897E}"/>
                </a:ext>
              </a:extLst>
            </p:cNvPr>
            <p:cNvSpPr/>
            <p:nvPr/>
          </p:nvSpPr>
          <p:spPr bwMode="invGray">
            <a:xfrm>
              <a:off x="1393026" y="376728"/>
              <a:ext cx="43378" cy="49204"/>
            </a:xfrm>
            <a:custGeom>
              <a:avLst/>
              <a:gdLst>
                <a:gd name="connsiteX0" fmla="*/ 168472 w 198388"/>
                <a:gd name="connsiteY0" fmla="*/ 25200 h 225035"/>
                <a:gd name="connsiteX1" fmla="*/ 137288 w 198388"/>
                <a:gd name="connsiteY1" fmla="*/ 6048 h 225035"/>
                <a:gd name="connsiteX2" fmla="*/ 101286 w 198388"/>
                <a:gd name="connsiteY2" fmla="*/ 0 h 225035"/>
                <a:gd name="connsiteX3" fmla="*/ 48044 w 198388"/>
                <a:gd name="connsiteY3" fmla="*/ 14364 h 225035"/>
                <a:gd name="connsiteX4" fmla="*/ 12677 w 198388"/>
                <a:gd name="connsiteY4" fmla="*/ 54180 h 225035"/>
                <a:gd name="connsiteX5" fmla="*/ 0 w 198388"/>
                <a:gd name="connsiteY5" fmla="*/ 113148 h 225035"/>
                <a:gd name="connsiteX6" fmla="*/ 12677 w 198388"/>
                <a:gd name="connsiteY6" fmla="*/ 172242 h 225035"/>
                <a:gd name="connsiteX7" fmla="*/ 48551 w 198388"/>
                <a:gd name="connsiteY7" fmla="*/ 211176 h 225035"/>
                <a:gd name="connsiteX8" fmla="*/ 104328 w 198388"/>
                <a:gd name="connsiteY8" fmla="*/ 225036 h 225035"/>
                <a:gd name="connsiteX9" fmla="*/ 147048 w 198388"/>
                <a:gd name="connsiteY9" fmla="*/ 217728 h 225035"/>
                <a:gd name="connsiteX10" fmla="*/ 178233 w 198388"/>
                <a:gd name="connsiteY10" fmla="*/ 197190 h 225035"/>
                <a:gd name="connsiteX11" fmla="*/ 195600 w 198388"/>
                <a:gd name="connsiteY11" fmla="*/ 166194 h 225035"/>
                <a:gd name="connsiteX12" fmla="*/ 155289 w 198388"/>
                <a:gd name="connsiteY12" fmla="*/ 159012 h 225035"/>
                <a:gd name="connsiteX13" fmla="*/ 144133 w 198388"/>
                <a:gd name="connsiteY13" fmla="*/ 176148 h 225035"/>
                <a:gd name="connsiteX14" fmla="*/ 126893 w 198388"/>
                <a:gd name="connsiteY14" fmla="*/ 186606 h 225035"/>
                <a:gd name="connsiteX15" fmla="*/ 104835 w 198388"/>
                <a:gd name="connsiteY15" fmla="*/ 190134 h 225035"/>
                <a:gd name="connsiteX16" fmla="*/ 72130 w 198388"/>
                <a:gd name="connsiteY16" fmla="*/ 182070 h 225035"/>
                <a:gd name="connsiteX17" fmla="*/ 50453 w 198388"/>
                <a:gd name="connsiteY17" fmla="*/ 158760 h 225035"/>
                <a:gd name="connsiteX18" fmla="*/ 42974 w 198388"/>
                <a:gd name="connsiteY18" fmla="*/ 124614 h 225035"/>
                <a:gd name="connsiteX19" fmla="*/ 198389 w 198388"/>
                <a:gd name="connsiteY19" fmla="*/ 124614 h 225035"/>
                <a:gd name="connsiteX20" fmla="*/ 198389 w 198388"/>
                <a:gd name="connsiteY20" fmla="*/ 109620 h 225035"/>
                <a:gd name="connsiteX21" fmla="*/ 190403 w 198388"/>
                <a:gd name="connsiteY21" fmla="*/ 59220 h 225035"/>
                <a:gd name="connsiteX22" fmla="*/ 168472 w 198388"/>
                <a:gd name="connsiteY22" fmla="*/ 25200 h 225035"/>
                <a:gd name="connsiteX23" fmla="*/ 42974 w 198388"/>
                <a:gd name="connsiteY23" fmla="*/ 92736 h 225035"/>
                <a:gd name="connsiteX24" fmla="*/ 49692 w 198388"/>
                <a:gd name="connsiteY24" fmla="*/ 66402 h 225035"/>
                <a:gd name="connsiteX25" fmla="*/ 70228 w 198388"/>
                <a:gd name="connsiteY25" fmla="*/ 43722 h 225035"/>
                <a:gd name="connsiteX26" fmla="*/ 101539 w 198388"/>
                <a:gd name="connsiteY26" fmla="*/ 35028 h 225035"/>
                <a:gd name="connsiteX27" fmla="*/ 130442 w 198388"/>
                <a:gd name="connsiteY27" fmla="*/ 42588 h 225035"/>
                <a:gd name="connsiteX28" fmla="*/ 149584 w 198388"/>
                <a:gd name="connsiteY28" fmla="*/ 63126 h 225035"/>
                <a:gd name="connsiteX29" fmla="*/ 156429 w 198388"/>
                <a:gd name="connsiteY29" fmla="*/ 92862 h 225035"/>
                <a:gd name="connsiteX30" fmla="*/ 42974 w 198388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8" h="225035">
                  <a:moveTo>
                    <a:pt x="168472" y="25200"/>
                  </a:move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1043" y="189000"/>
                    <a:pt x="33086" y="201978"/>
                    <a:pt x="48551" y="211176"/>
                  </a:cubicBezTo>
                  <a:cubicBezTo>
                    <a:pt x="64144" y="220374"/>
                    <a:pt x="82651" y="225036"/>
                    <a:pt x="104328" y="225036"/>
                  </a:cubicBezTo>
                  <a:cubicBezTo>
                    <a:pt x="120301" y="225036"/>
                    <a:pt x="134499" y="222642"/>
                    <a:pt x="147048" y="217728"/>
                  </a:cubicBezTo>
                  <a:cubicBezTo>
                    <a:pt x="159599" y="212814"/>
                    <a:pt x="169993" y="206010"/>
                    <a:pt x="178233" y="197190"/>
                  </a:cubicBezTo>
                  <a:cubicBezTo>
                    <a:pt x="186600" y="188370"/>
                    <a:pt x="192304" y="178038"/>
                    <a:pt x="195600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5" y="190134"/>
                  </a:cubicBezTo>
                  <a:cubicBezTo>
                    <a:pt x="92412" y="190134"/>
                    <a:pt x="81511" y="187488"/>
                    <a:pt x="72130" y="182070"/>
                  </a:cubicBezTo>
                  <a:cubicBezTo>
                    <a:pt x="62876" y="176778"/>
                    <a:pt x="55523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2" y="66402"/>
                  </a:cubicBezTo>
                  <a:cubicBezTo>
                    <a:pt x="54509" y="57078"/>
                    <a:pt x="61355" y="49518"/>
                    <a:pt x="70228" y="43722"/>
                  </a:cubicBezTo>
                  <a:cubicBezTo>
                    <a:pt x="79102" y="37926"/>
                    <a:pt x="89497" y="35028"/>
                    <a:pt x="101539" y="35028"/>
                  </a:cubicBezTo>
                  <a:cubicBezTo>
                    <a:pt x="112568" y="35028"/>
                    <a:pt x="122202" y="37548"/>
                    <a:pt x="130442" y="42588"/>
                  </a:cubicBezTo>
                  <a:cubicBezTo>
                    <a:pt x="138682" y="47628"/>
                    <a:pt x="145020" y="54432"/>
                    <a:pt x="149584" y="63126"/>
                  </a:cubicBezTo>
                  <a:cubicBezTo>
                    <a:pt x="154147" y="71820"/>
                    <a:pt x="156429" y="81648"/>
                    <a:pt x="156429" y="92862"/>
                  </a:cubicBezTo>
                  <a:lnTo>
                    <a:pt x="42974" y="9286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6" name="Freihandform 32">
              <a:extLst>
                <a:ext uri="{FF2B5EF4-FFF2-40B4-BE49-F238E27FC236}">
                  <a16:creationId xmlns:a16="http://schemas.microsoft.com/office/drawing/2014/main" id="{96A47144-B517-4D9E-9D34-8B4529613420}"/>
                </a:ext>
              </a:extLst>
            </p:cNvPr>
            <p:cNvSpPr/>
            <p:nvPr/>
          </p:nvSpPr>
          <p:spPr bwMode="invGray">
            <a:xfrm>
              <a:off x="144225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3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3 w 123723"/>
                <a:gd name="connsiteY16" fmla="*/ 247590 h 272810"/>
                <a:gd name="connsiteX17" fmla="*/ 64651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8" y="234738"/>
                    <a:pt x="104456" y="234990"/>
                    <a:pt x="101033" y="234990"/>
                  </a:cubicBezTo>
                  <a:cubicBezTo>
                    <a:pt x="96342" y="234990"/>
                    <a:pt x="92032" y="234234"/>
                    <a:pt x="88103" y="232848"/>
                  </a:cubicBezTo>
                  <a:cubicBezTo>
                    <a:pt x="84173" y="231336"/>
                    <a:pt x="81004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3" y="247590"/>
                  </a:cubicBezTo>
                  <a:cubicBezTo>
                    <a:pt x="47031" y="256284"/>
                    <a:pt x="54890" y="262710"/>
                    <a:pt x="64651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9" y="272160"/>
                    <a:pt x="113202" y="271152"/>
                  </a:cubicBezTo>
                  <a:cubicBezTo>
                    <a:pt x="117766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7" y="233352"/>
                    <a:pt x="112568" y="233730"/>
                    <a:pt x="110033" y="234234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7" name="Freihandform 33">
              <a:extLst>
                <a:ext uri="{FF2B5EF4-FFF2-40B4-BE49-F238E27FC236}">
                  <a16:creationId xmlns:a16="http://schemas.microsoft.com/office/drawing/2014/main" id="{6675D025-AB85-467D-AF5E-E67FCC064833}"/>
                </a:ext>
              </a:extLst>
            </p:cNvPr>
            <p:cNvSpPr/>
            <p:nvPr/>
          </p:nvSpPr>
          <p:spPr bwMode="invGray">
            <a:xfrm>
              <a:off x="147418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2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2 w 123723"/>
                <a:gd name="connsiteY16" fmla="*/ 247590 h 272810"/>
                <a:gd name="connsiteX17" fmla="*/ 64650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7" y="234738"/>
                    <a:pt x="104455" y="234990"/>
                    <a:pt x="101033" y="234990"/>
                  </a:cubicBezTo>
                  <a:cubicBezTo>
                    <a:pt x="96342" y="234990"/>
                    <a:pt x="92032" y="234234"/>
                    <a:pt x="88102" y="232848"/>
                  </a:cubicBezTo>
                  <a:cubicBezTo>
                    <a:pt x="84173" y="231336"/>
                    <a:pt x="81003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2" y="247590"/>
                  </a:cubicBezTo>
                  <a:cubicBezTo>
                    <a:pt x="47030" y="256284"/>
                    <a:pt x="54890" y="262710"/>
                    <a:pt x="64650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8" y="272160"/>
                    <a:pt x="113202" y="271152"/>
                  </a:cubicBezTo>
                  <a:cubicBezTo>
                    <a:pt x="117765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6" y="233352"/>
                    <a:pt x="112695" y="233730"/>
                    <a:pt x="110033" y="234234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8" name="Freihandform 34">
              <a:extLst>
                <a:ext uri="{FF2B5EF4-FFF2-40B4-BE49-F238E27FC236}">
                  <a16:creationId xmlns:a16="http://schemas.microsoft.com/office/drawing/2014/main" id="{AB95B676-DB6F-411F-BA1D-501D07F12161}"/>
                </a:ext>
              </a:extLst>
            </p:cNvPr>
            <p:cNvSpPr/>
            <p:nvPr/>
          </p:nvSpPr>
          <p:spPr bwMode="invGray">
            <a:xfrm>
              <a:off x="1507803" y="376728"/>
              <a:ext cx="43378" cy="49204"/>
            </a:xfrm>
            <a:custGeom>
              <a:avLst/>
              <a:gdLst>
                <a:gd name="connsiteX0" fmla="*/ 168472 w 198389"/>
                <a:gd name="connsiteY0" fmla="*/ 25200 h 225035"/>
                <a:gd name="connsiteX1" fmla="*/ 137288 w 198389"/>
                <a:gd name="connsiteY1" fmla="*/ 6048 h 225035"/>
                <a:gd name="connsiteX2" fmla="*/ 101286 w 198389"/>
                <a:gd name="connsiteY2" fmla="*/ 0 h 225035"/>
                <a:gd name="connsiteX3" fmla="*/ 48044 w 198389"/>
                <a:gd name="connsiteY3" fmla="*/ 14364 h 225035"/>
                <a:gd name="connsiteX4" fmla="*/ 12677 w 198389"/>
                <a:gd name="connsiteY4" fmla="*/ 54180 h 225035"/>
                <a:gd name="connsiteX5" fmla="*/ 0 w 198389"/>
                <a:gd name="connsiteY5" fmla="*/ 113148 h 225035"/>
                <a:gd name="connsiteX6" fmla="*/ 12677 w 198389"/>
                <a:gd name="connsiteY6" fmla="*/ 172242 h 225035"/>
                <a:gd name="connsiteX7" fmla="*/ 48552 w 198389"/>
                <a:gd name="connsiteY7" fmla="*/ 211176 h 225035"/>
                <a:gd name="connsiteX8" fmla="*/ 104329 w 198389"/>
                <a:gd name="connsiteY8" fmla="*/ 225036 h 225035"/>
                <a:gd name="connsiteX9" fmla="*/ 147049 w 198389"/>
                <a:gd name="connsiteY9" fmla="*/ 217728 h 225035"/>
                <a:gd name="connsiteX10" fmla="*/ 178234 w 198389"/>
                <a:gd name="connsiteY10" fmla="*/ 197190 h 225035"/>
                <a:gd name="connsiteX11" fmla="*/ 195601 w 198389"/>
                <a:gd name="connsiteY11" fmla="*/ 166194 h 225035"/>
                <a:gd name="connsiteX12" fmla="*/ 155289 w 198389"/>
                <a:gd name="connsiteY12" fmla="*/ 159012 h 225035"/>
                <a:gd name="connsiteX13" fmla="*/ 144133 w 198389"/>
                <a:gd name="connsiteY13" fmla="*/ 176148 h 225035"/>
                <a:gd name="connsiteX14" fmla="*/ 126893 w 198389"/>
                <a:gd name="connsiteY14" fmla="*/ 186606 h 225035"/>
                <a:gd name="connsiteX15" fmla="*/ 104836 w 198389"/>
                <a:gd name="connsiteY15" fmla="*/ 190134 h 225035"/>
                <a:gd name="connsiteX16" fmla="*/ 72130 w 198389"/>
                <a:gd name="connsiteY16" fmla="*/ 182070 h 225035"/>
                <a:gd name="connsiteX17" fmla="*/ 50453 w 198389"/>
                <a:gd name="connsiteY17" fmla="*/ 158760 h 225035"/>
                <a:gd name="connsiteX18" fmla="*/ 42974 w 198389"/>
                <a:gd name="connsiteY18" fmla="*/ 124614 h 225035"/>
                <a:gd name="connsiteX19" fmla="*/ 198389 w 198389"/>
                <a:gd name="connsiteY19" fmla="*/ 124614 h 225035"/>
                <a:gd name="connsiteX20" fmla="*/ 198389 w 198389"/>
                <a:gd name="connsiteY20" fmla="*/ 109620 h 225035"/>
                <a:gd name="connsiteX21" fmla="*/ 190403 w 198389"/>
                <a:gd name="connsiteY21" fmla="*/ 59220 h 225035"/>
                <a:gd name="connsiteX22" fmla="*/ 168472 w 198389"/>
                <a:gd name="connsiteY22" fmla="*/ 25200 h 225035"/>
                <a:gd name="connsiteX23" fmla="*/ 42974 w 198389"/>
                <a:gd name="connsiteY23" fmla="*/ 92736 h 225035"/>
                <a:gd name="connsiteX24" fmla="*/ 49693 w 198389"/>
                <a:gd name="connsiteY24" fmla="*/ 66402 h 225035"/>
                <a:gd name="connsiteX25" fmla="*/ 70229 w 198389"/>
                <a:gd name="connsiteY25" fmla="*/ 43722 h 225035"/>
                <a:gd name="connsiteX26" fmla="*/ 101540 w 198389"/>
                <a:gd name="connsiteY26" fmla="*/ 35028 h 225035"/>
                <a:gd name="connsiteX27" fmla="*/ 130443 w 198389"/>
                <a:gd name="connsiteY27" fmla="*/ 42588 h 225035"/>
                <a:gd name="connsiteX28" fmla="*/ 149584 w 198389"/>
                <a:gd name="connsiteY28" fmla="*/ 63126 h 225035"/>
                <a:gd name="connsiteX29" fmla="*/ 156430 w 198389"/>
                <a:gd name="connsiteY29" fmla="*/ 92862 h 225035"/>
                <a:gd name="connsiteX30" fmla="*/ 42974 w 198389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9" h="225035">
                  <a:moveTo>
                    <a:pt x="168472" y="25200"/>
                  </a:move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9000"/>
                    <a:pt x="33086" y="201978"/>
                    <a:pt x="48552" y="211176"/>
                  </a:cubicBezTo>
                  <a:cubicBezTo>
                    <a:pt x="64144" y="220374"/>
                    <a:pt x="82652" y="225036"/>
                    <a:pt x="104329" y="225036"/>
                  </a:cubicBezTo>
                  <a:cubicBezTo>
                    <a:pt x="120301" y="225036"/>
                    <a:pt x="134499" y="222642"/>
                    <a:pt x="147049" y="217728"/>
                  </a:cubicBezTo>
                  <a:cubicBezTo>
                    <a:pt x="159599" y="212814"/>
                    <a:pt x="169993" y="206010"/>
                    <a:pt x="178234" y="197190"/>
                  </a:cubicBezTo>
                  <a:cubicBezTo>
                    <a:pt x="186600" y="188370"/>
                    <a:pt x="192304" y="178038"/>
                    <a:pt x="195601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6" y="190134"/>
                  </a:cubicBezTo>
                  <a:cubicBezTo>
                    <a:pt x="92413" y="190134"/>
                    <a:pt x="81511" y="187488"/>
                    <a:pt x="72130" y="182070"/>
                  </a:cubicBezTo>
                  <a:cubicBezTo>
                    <a:pt x="62876" y="176778"/>
                    <a:pt x="55524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3" y="66402"/>
                  </a:cubicBezTo>
                  <a:cubicBezTo>
                    <a:pt x="54510" y="57078"/>
                    <a:pt x="61355" y="49518"/>
                    <a:pt x="70229" y="43722"/>
                  </a:cubicBezTo>
                  <a:cubicBezTo>
                    <a:pt x="79102" y="37926"/>
                    <a:pt x="89497" y="35028"/>
                    <a:pt x="101540" y="35028"/>
                  </a:cubicBezTo>
                  <a:cubicBezTo>
                    <a:pt x="112568" y="35028"/>
                    <a:pt x="122203" y="37548"/>
                    <a:pt x="130443" y="42588"/>
                  </a:cubicBezTo>
                  <a:cubicBezTo>
                    <a:pt x="138682" y="47628"/>
                    <a:pt x="145021" y="54432"/>
                    <a:pt x="149584" y="63126"/>
                  </a:cubicBezTo>
                  <a:cubicBezTo>
                    <a:pt x="154148" y="71820"/>
                    <a:pt x="156430" y="81648"/>
                    <a:pt x="156430" y="92862"/>
                  </a:cubicBezTo>
                  <a:lnTo>
                    <a:pt x="42974" y="9286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9" name="Freihandform 35">
              <a:extLst>
                <a:ext uri="{FF2B5EF4-FFF2-40B4-BE49-F238E27FC236}">
                  <a16:creationId xmlns:a16="http://schemas.microsoft.com/office/drawing/2014/main" id="{37D4CE77-3FC3-4C90-8C7C-52858E35942C}"/>
                </a:ext>
              </a:extLst>
            </p:cNvPr>
            <p:cNvSpPr/>
            <p:nvPr/>
          </p:nvSpPr>
          <p:spPr bwMode="invGray">
            <a:xfrm>
              <a:off x="1560854" y="376618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0" name="Freihandform 36">
              <a:extLst>
                <a:ext uri="{FF2B5EF4-FFF2-40B4-BE49-F238E27FC236}">
                  <a16:creationId xmlns:a16="http://schemas.microsoft.com/office/drawing/2014/main" id="{663953A3-132C-4F8A-A542-F246666170C7}"/>
                </a:ext>
              </a:extLst>
            </p:cNvPr>
            <p:cNvSpPr/>
            <p:nvPr/>
          </p:nvSpPr>
          <p:spPr bwMode="invGray">
            <a:xfrm>
              <a:off x="1125885" y="466265"/>
              <a:ext cx="67325" cy="47634"/>
            </a:xfrm>
            <a:custGeom>
              <a:avLst/>
              <a:gdLst>
                <a:gd name="connsiteX0" fmla="*/ 221207 w 307914"/>
                <a:gd name="connsiteY0" fmla="*/ 159264 h 217854"/>
                <a:gd name="connsiteX1" fmla="*/ 219052 w 307914"/>
                <a:gd name="connsiteY1" fmla="*/ 159264 h 217854"/>
                <a:gd name="connsiteX2" fmla="*/ 176205 w 307914"/>
                <a:gd name="connsiteY2" fmla="*/ 0 h 217854"/>
                <a:gd name="connsiteX3" fmla="*/ 132217 w 307914"/>
                <a:gd name="connsiteY3" fmla="*/ 0 h 217854"/>
                <a:gd name="connsiteX4" fmla="*/ 89117 w 307914"/>
                <a:gd name="connsiteY4" fmla="*/ 159894 h 217854"/>
                <a:gd name="connsiteX5" fmla="*/ 86961 w 307914"/>
                <a:gd name="connsiteY5" fmla="*/ 159894 h 217854"/>
                <a:gd name="connsiteX6" fmla="*/ 43988 w 307914"/>
                <a:gd name="connsiteY6" fmla="*/ 0 h 217854"/>
                <a:gd name="connsiteX7" fmla="*/ 0 w 307914"/>
                <a:gd name="connsiteY7" fmla="*/ 0 h 217854"/>
                <a:gd name="connsiteX8" fmla="*/ 64397 w 307914"/>
                <a:gd name="connsiteY8" fmla="*/ 217854 h 217854"/>
                <a:gd name="connsiteX9" fmla="*/ 107751 w 307914"/>
                <a:gd name="connsiteY9" fmla="*/ 217854 h 217854"/>
                <a:gd name="connsiteX10" fmla="*/ 152246 w 307914"/>
                <a:gd name="connsiteY10" fmla="*/ 60606 h 217854"/>
                <a:gd name="connsiteX11" fmla="*/ 155542 w 307914"/>
                <a:gd name="connsiteY11" fmla="*/ 60606 h 217854"/>
                <a:gd name="connsiteX12" fmla="*/ 200037 w 307914"/>
                <a:gd name="connsiteY12" fmla="*/ 217854 h 217854"/>
                <a:gd name="connsiteX13" fmla="*/ 243518 w 307914"/>
                <a:gd name="connsiteY13" fmla="*/ 217854 h 217854"/>
                <a:gd name="connsiteX14" fmla="*/ 307915 w 307914"/>
                <a:gd name="connsiteY14" fmla="*/ 0 h 217854"/>
                <a:gd name="connsiteX15" fmla="*/ 263800 w 307914"/>
                <a:gd name="connsiteY15" fmla="*/ 0 h 21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7914" h="217854">
                  <a:moveTo>
                    <a:pt x="221207" y="159264"/>
                  </a:moveTo>
                  <a:lnTo>
                    <a:pt x="219052" y="159264"/>
                  </a:lnTo>
                  <a:lnTo>
                    <a:pt x="176205" y="0"/>
                  </a:lnTo>
                  <a:lnTo>
                    <a:pt x="132217" y="0"/>
                  </a:lnTo>
                  <a:lnTo>
                    <a:pt x="89117" y="159894"/>
                  </a:lnTo>
                  <a:lnTo>
                    <a:pt x="86961" y="159894"/>
                  </a:lnTo>
                  <a:lnTo>
                    <a:pt x="43988" y="0"/>
                  </a:lnTo>
                  <a:lnTo>
                    <a:pt x="0" y="0"/>
                  </a:lnTo>
                  <a:lnTo>
                    <a:pt x="64397" y="217854"/>
                  </a:lnTo>
                  <a:lnTo>
                    <a:pt x="107751" y="217854"/>
                  </a:lnTo>
                  <a:lnTo>
                    <a:pt x="152246" y="60606"/>
                  </a:lnTo>
                  <a:lnTo>
                    <a:pt x="155542" y="60606"/>
                  </a:lnTo>
                  <a:lnTo>
                    <a:pt x="200037" y="217854"/>
                  </a:lnTo>
                  <a:lnTo>
                    <a:pt x="243518" y="217854"/>
                  </a:lnTo>
                  <a:lnTo>
                    <a:pt x="307915" y="0"/>
                  </a:lnTo>
                  <a:lnTo>
                    <a:pt x="263800" y="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1" name="Freihandform 37">
              <a:extLst>
                <a:ext uri="{FF2B5EF4-FFF2-40B4-BE49-F238E27FC236}">
                  <a16:creationId xmlns:a16="http://schemas.microsoft.com/office/drawing/2014/main" id="{A9437713-E829-48C1-8155-9D1DB29E79D5}"/>
                </a:ext>
              </a:extLst>
            </p:cNvPr>
            <p:cNvSpPr/>
            <p:nvPr/>
          </p:nvSpPr>
          <p:spPr bwMode="invGray">
            <a:xfrm>
              <a:off x="1198532" y="465659"/>
              <a:ext cx="44625" cy="49177"/>
            </a:xfrm>
            <a:custGeom>
              <a:avLst/>
              <a:gdLst>
                <a:gd name="connsiteX0" fmla="*/ 155796 w 204093"/>
                <a:gd name="connsiteY0" fmla="*/ 13986 h 224910"/>
                <a:gd name="connsiteX1" fmla="*/ 102047 w 204093"/>
                <a:gd name="connsiteY1" fmla="*/ 0 h 224910"/>
                <a:gd name="connsiteX2" fmla="*/ 48298 w 204093"/>
                <a:gd name="connsiteY2" fmla="*/ 13986 h 224910"/>
                <a:gd name="connsiteX3" fmla="*/ 12677 w 204093"/>
                <a:gd name="connsiteY3" fmla="*/ 53424 h 224910"/>
                <a:gd name="connsiteX4" fmla="*/ 0 w 204093"/>
                <a:gd name="connsiteY4" fmla="*/ 112644 h 224910"/>
                <a:gd name="connsiteX5" fmla="*/ 12677 w 204093"/>
                <a:gd name="connsiteY5" fmla="*/ 171612 h 224910"/>
                <a:gd name="connsiteX6" fmla="*/ 48298 w 204093"/>
                <a:gd name="connsiteY6" fmla="*/ 210924 h 224910"/>
                <a:gd name="connsiteX7" fmla="*/ 102047 w 204093"/>
                <a:gd name="connsiteY7" fmla="*/ 224910 h 224910"/>
                <a:gd name="connsiteX8" fmla="*/ 155796 w 204093"/>
                <a:gd name="connsiteY8" fmla="*/ 210924 h 224910"/>
                <a:gd name="connsiteX9" fmla="*/ 191417 w 204093"/>
                <a:gd name="connsiteY9" fmla="*/ 171612 h 224910"/>
                <a:gd name="connsiteX10" fmla="*/ 204094 w 204093"/>
                <a:gd name="connsiteY10" fmla="*/ 112644 h 224910"/>
                <a:gd name="connsiteX11" fmla="*/ 191417 w 204093"/>
                <a:gd name="connsiteY11" fmla="*/ 53424 h 224910"/>
                <a:gd name="connsiteX12" fmla="*/ 155796 w 204093"/>
                <a:gd name="connsiteY12" fmla="*/ 13986 h 224910"/>
                <a:gd name="connsiteX13" fmla="*/ 154655 w 204093"/>
                <a:gd name="connsiteY13" fmla="*/ 150948 h 224910"/>
                <a:gd name="connsiteX14" fmla="*/ 135133 w 204093"/>
                <a:gd name="connsiteY14" fmla="*/ 178920 h 224910"/>
                <a:gd name="connsiteX15" fmla="*/ 102047 w 204093"/>
                <a:gd name="connsiteY15" fmla="*/ 189378 h 224910"/>
                <a:gd name="connsiteX16" fmla="*/ 68707 w 204093"/>
                <a:gd name="connsiteY16" fmla="*/ 178920 h 224910"/>
                <a:gd name="connsiteX17" fmla="*/ 49185 w 204093"/>
                <a:gd name="connsiteY17" fmla="*/ 150948 h 224910"/>
                <a:gd name="connsiteX18" fmla="*/ 42847 w 204093"/>
                <a:gd name="connsiteY18" fmla="*/ 112518 h 224910"/>
                <a:gd name="connsiteX19" fmla="*/ 49185 w 204093"/>
                <a:gd name="connsiteY19" fmla="*/ 74214 h 224910"/>
                <a:gd name="connsiteX20" fmla="*/ 68707 w 204093"/>
                <a:gd name="connsiteY20" fmla="*/ 46116 h 224910"/>
                <a:gd name="connsiteX21" fmla="*/ 102047 w 204093"/>
                <a:gd name="connsiteY21" fmla="*/ 35532 h 224910"/>
                <a:gd name="connsiteX22" fmla="*/ 135133 w 204093"/>
                <a:gd name="connsiteY22" fmla="*/ 46116 h 224910"/>
                <a:gd name="connsiteX23" fmla="*/ 154655 w 204093"/>
                <a:gd name="connsiteY23" fmla="*/ 74214 h 224910"/>
                <a:gd name="connsiteX24" fmla="*/ 160993 w 204093"/>
                <a:gd name="connsiteY24" fmla="*/ 112518 h 224910"/>
                <a:gd name="connsiteX25" fmla="*/ 154655 w 204093"/>
                <a:gd name="connsiteY25" fmla="*/ 150948 h 224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10">
                  <a:moveTo>
                    <a:pt x="155796" y="13986"/>
                  </a:move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6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3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6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0" y="154854"/>
                    <a:pt x="204094" y="135072"/>
                    <a:pt x="204094" y="112644"/>
                  </a:cubicBezTo>
                  <a:cubicBezTo>
                    <a:pt x="204094" y="90090"/>
                    <a:pt x="199910" y="70308"/>
                    <a:pt x="191417" y="53424"/>
                  </a:cubicBezTo>
                  <a:cubicBezTo>
                    <a:pt x="182924" y="36540"/>
                    <a:pt x="171007" y="23310"/>
                    <a:pt x="155796" y="13986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09" y="189378"/>
                    <a:pt x="77581" y="185850"/>
                    <a:pt x="68707" y="178920"/>
                  </a:cubicBezTo>
                  <a:cubicBezTo>
                    <a:pt x="59961" y="171990"/>
                    <a:pt x="53368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8" y="62496"/>
                    <a:pt x="59961" y="53172"/>
                    <a:pt x="68707" y="46116"/>
                  </a:cubicBezTo>
                  <a:cubicBezTo>
                    <a:pt x="77454" y="39060"/>
                    <a:pt x="88609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2" name="Freihandform 38">
              <a:extLst>
                <a:ext uri="{FF2B5EF4-FFF2-40B4-BE49-F238E27FC236}">
                  <a16:creationId xmlns:a16="http://schemas.microsoft.com/office/drawing/2014/main" id="{A557F429-6F93-4F3C-B06C-6AA11804ED92}"/>
                </a:ext>
              </a:extLst>
            </p:cNvPr>
            <p:cNvSpPr/>
            <p:nvPr/>
          </p:nvSpPr>
          <p:spPr bwMode="invGray">
            <a:xfrm>
              <a:off x="1253635" y="465549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3" name="Freihandform 39">
              <a:extLst>
                <a:ext uri="{FF2B5EF4-FFF2-40B4-BE49-F238E27FC236}">
                  <a16:creationId xmlns:a16="http://schemas.microsoft.com/office/drawing/2014/main" id="{7DC88ECB-9263-4363-9D71-4514FF702696}"/>
                </a:ext>
              </a:extLst>
            </p:cNvPr>
            <p:cNvSpPr/>
            <p:nvPr/>
          </p:nvSpPr>
          <p:spPr bwMode="invGray">
            <a:xfrm>
              <a:off x="1287450" y="450397"/>
              <a:ext cx="9341" cy="63475"/>
            </a:xfrm>
            <a:custGeom>
              <a:avLst/>
              <a:gdLst>
                <a:gd name="connsiteX0" fmla="*/ 0 w 42720"/>
                <a:gd name="connsiteY0" fmla="*/ 0 h 290304"/>
                <a:gd name="connsiteX1" fmla="*/ 42720 w 42720"/>
                <a:gd name="connsiteY1" fmla="*/ 0 h 290304"/>
                <a:gd name="connsiteX2" fmla="*/ 42720 w 42720"/>
                <a:gd name="connsiteY2" fmla="*/ 290304 h 290304"/>
                <a:gd name="connsiteX3" fmla="*/ 0 w 42720"/>
                <a:gd name="connsiteY3" fmla="*/ 290304 h 29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90304">
                  <a:moveTo>
                    <a:pt x="0" y="0"/>
                  </a:moveTo>
                  <a:lnTo>
                    <a:pt x="42720" y="0"/>
                  </a:lnTo>
                  <a:lnTo>
                    <a:pt x="42720" y="290304"/>
                  </a:lnTo>
                  <a:lnTo>
                    <a:pt x="0" y="290304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4" name="Freihandform 40">
              <a:extLst>
                <a:ext uri="{FF2B5EF4-FFF2-40B4-BE49-F238E27FC236}">
                  <a16:creationId xmlns:a16="http://schemas.microsoft.com/office/drawing/2014/main" id="{BE070819-7F8D-4874-8710-2FC1516B1249}"/>
                </a:ext>
              </a:extLst>
            </p:cNvPr>
            <p:cNvSpPr/>
            <p:nvPr/>
          </p:nvSpPr>
          <p:spPr bwMode="invGray">
            <a:xfrm>
              <a:off x="1307323" y="450397"/>
              <a:ext cx="43793" cy="64411"/>
            </a:xfrm>
            <a:custGeom>
              <a:avLst/>
              <a:gdLst>
                <a:gd name="connsiteX0" fmla="*/ 157444 w 200290"/>
                <a:gd name="connsiteY0" fmla="*/ 107856 h 294587"/>
                <a:gd name="connsiteX1" fmla="*/ 154908 w 200290"/>
                <a:gd name="connsiteY1" fmla="*/ 107856 h 294587"/>
                <a:gd name="connsiteX2" fmla="*/ 144133 w 200290"/>
                <a:gd name="connsiteY2" fmla="*/ 92106 h 294587"/>
                <a:gd name="connsiteX3" fmla="*/ 124738 w 200290"/>
                <a:gd name="connsiteY3" fmla="*/ 76482 h 294587"/>
                <a:gd name="connsiteX4" fmla="*/ 91905 w 200290"/>
                <a:gd name="connsiteY4" fmla="*/ 69804 h 294587"/>
                <a:gd name="connsiteX5" fmla="*/ 44622 w 200290"/>
                <a:gd name="connsiteY5" fmla="*/ 83160 h 294587"/>
                <a:gd name="connsiteX6" fmla="*/ 11916 w 200290"/>
                <a:gd name="connsiteY6" fmla="*/ 121590 h 294587"/>
                <a:gd name="connsiteX7" fmla="*/ 0 w 200290"/>
                <a:gd name="connsiteY7" fmla="*/ 181944 h 294587"/>
                <a:gd name="connsiteX8" fmla="*/ 11789 w 200290"/>
                <a:gd name="connsiteY8" fmla="*/ 242424 h 294587"/>
                <a:gd name="connsiteX9" fmla="*/ 44368 w 200290"/>
                <a:gd name="connsiteY9" fmla="*/ 281106 h 294587"/>
                <a:gd name="connsiteX10" fmla="*/ 91652 w 200290"/>
                <a:gd name="connsiteY10" fmla="*/ 294588 h 294587"/>
                <a:gd name="connsiteX11" fmla="*/ 124231 w 200290"/>
                <a:gd name="connsiteY11" fmla="*/ 287910 h 294587"/>
                <a:gd name="connsiteX12" fmla="*/ 144006 w 200290"/>
                <a:gd name="connsiteY12" fmla="*/ 272286 h 294587"/>
                <a:gd name="connsiteX13" fmla="*/ 155035 w 200290"/>
                <a:gd name="connsiteY13" fmla="*/ 256410 h 294587"/>
                <a:gd name="connsiteX14" fmla="*/ 158585 w 200290"/>
                <a:gd name="connsiteY14" fmla="*/ 256410 h 294587"/>
                <a:gd name="connsiteX15" fmla="*/ 158585 w 200290"/>
                <a:gd name="connsiteY15" fmla="*/ 290304 h 294587"/>
                <a:gd name="connsiteX16" fmla="*/ 200290 w 200290"/>
                <a:gd name="connsiteY16" fmla="*/ 290304 h 294587"/>
                <a:gd name="connsiteX17" fmla="*/ 200290 w 200290"/>
                <a:gd name="connsiteY17" fmla="*/ 0 h 294587"/>
                <a:gd name="connsiteX18" fmla="*/ 157570 w 200290"/>
                <a:gd name="connsiteY18" fmla="*/ 0 h 294587"/>
                <a:gd name="connsiteX19" fmla="*/ 157570 w 200290"/>
                <a:gd name="connsiteY19" fmla="*/ 107856 h 294587"/>
                <a:gd name="connsiteX20" fmla="*/ 151612 w 200290"/>
                <a:gd name="connsiteY20" fmla="*/ 221760 h 294587"/>
                <a:gd name="connsiteX21" fmla="*/ 132217 w 200290"/>
                <a:gd name="connsiteY21" fmla="*/ 248724 h 294587"/>
                <a:gd name="connsiteX22" fmla="*/ 101033 w 200290"/>
                <a:gd name="connsiteY22" fmla="*/ 258426 h 294587"/>
                <a:gd name="connsiteX23" fmla="*/ 69214 w 200290"/>
                <a:gd name="connsiteY23" fmla="*/ 248346 h 294587"/>
                <a:gd name="connsiteX24" fmla="*/ 49819 w 200290"/>
                <a:gd name="connsiteY24" fmla="*/ 220752 h 294587"/>
                <a:gd name="connsiteX25" fmla="*/ 43227 w 200290"/>
                <a:gd name="connsiteY25" fmla="*/ 181440 h 294587"/>
                <a:gd name="connsiteX26" fmla="*/ 49693 w 200290"/>
                <a:gd name="connsiteY26" fmla="*/ 142758 h 294587"/>
                <a:gd name="connsiteX27" fmla="*/ 68961 w 200290"/>
                <a:gd name="connsiteY27" fmla="*/ 115668 h 294587"/>
                <a:gd name="connsiteX28" fmla="*/ 101033 w 200290"/>
                <a:gd name="connsiteY28" fmla="*/ 105714 h 294587"/>
                <a:gd name="connsiteX29" fmla="*/ 132471 w 200290"/>
                <a:gd name="connsiteY29" fmla="*/ 115164 h 294587"/>
                <a:gd name="connsiteX30" fmla="*/ 151739 w 200290"/>
                <a:gd name="connsiteY30" fmla="*/ 141624 h 294587"/>
                <a:gd name="connsiteX31" fmla="*/ 158331 w 200290"/>
                <a:gd name="connsiteY31" fmla="*/ 181314 h 294587"/>
                <a:gd name="connsiteX32" fmla="*/ 151612 w 200290"/>
                <a:gd name="connsiteY32" fmla="*/ 221760 h 29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290" h="294587">
                  <a:moveTo>
                    <a:pt x="157444" y="107856"/>
                  </a:moveTo>
                  <a:lnTo>
                    <a:pt x="154908" y="107856"/>
                  </a:lnTo>
                  <a:cubicBezTo>
                    <a:pt x="152373" y="103320"/>
                    <a:pt x="148697" y="98028"/>
                    <a:pt x="144133" y="92106"/>
                  </a:cubicBezTo>
                  <a:cubicBezTo>
                    <a:pt x="139443" y="86184"/>
                    <a:pt x="132978" y="80892"/>
                    <a:pt x="124738" y="76482"/>
                  </a:cubicBezTo>
                  <a:cubicBezTo>
                    <a:pt x="116371" y="71946"/>
                    <a:pt x="105470" y="69804"/>
                    <a:pt x="91905" y="69804"/>
                  </a:cubicBezTo>
                  <a:cubicBezTo>
                    <a:pt x="74285" y="69804"/>
                    <a:pt x="58566" y="74214"/>
                    <a:pt x="44622" y="83160"/>
                  </a:cubicBezTo>
                  <a:cubicBezTo>
                    <a:pt x="30678" y="92106"/>
                    <a:pt x="19775" y="104832"/>
                    <a:pt x="11916" y="121590"/>
                  </a:cubicBezTo>
                  <a:cubicBezTo>
                    <a:pt x="3930" y="138348"/>
                    <a:pt x="0" y="158508"/>
                    <a:pt x="0" y="181944"/>
                  </a:cubicBezTo>
                  <a:cubicBezTo>
                    <a:pt x="0" y="205506"/>
                    <a:pt x="3930" y="225666"/>
                    <a:pt x="11789" y="242424"/>
                  </a:cubicBezTo>
                  <a:cubicBezTo>
                    <a:pt x="19649" y="259182"/>
                    <a:pt x="30424" y="272034"/>
                    <a:pt x="44368" y="281106"/>
                  </a:cubicBezTo>
                  <a:cubicBezTo>
                    <a:pt x="58186" y="290178"/>
                    <a:pt x="73905" y="294588"/>
                    <a:pt x="91652" y="294588"/>
                  </a:cubicBezTo>
                  <a:cubicBezTo>
                    <a:pt x="104962" y="294588"/>
                    <a:pt x="115738" y="292320"/>
                    <a:pt x="124231" y="287910"/>
                  </a:cubicBezTo>
                  <a:cubicBezTo>
                    <a:pt x="132597" y="283500"/>
                    <a:pt x="139189" y="278208"/>
                    <a:pt x="144006" y="272286"/>
                  </a:cubicBezTo>
                  <a:cubicBezTo>
                    <a:pt x="148823" y="266364"/>
                    <a:pt x="152500" y="261072"/>
                    <a:pt x="155035" y="256410"/>
                  </a:cubicBezTo>
                  <a:lnTo>
                    <a:pt x="158585" y="256410"/>
                  </a:lnTo>
                  <a:lnTo>
                    <a:pt x="158585" y="290304"/>
                  </a:lnTo>
                  <a:lnTo>
                    <a:pt x="200290" y="290304"/>
                  </a:lnTo>
                  <a:lnTo>
                    <a:pt x="200290" y="0"/>
                  </a:lnTo>
                  <a:lnTo>
                    <a:pt x="157570" y="0"/>
                  </a:lnTo>
                  <a:lnTo>
                    <a:pt x="157570" y="107856"/>
                  </a:lnTo>
                  <a:close/>
                  <a:moveTo>
                    <a:pt x="151612" y="221760"/>
                  </a:moveTo>
                  <a:cubicBezTo>
                    <a:pt x="147175" y="233226"/>
                    <a:pt x="140711" y="242298"/>
                    <a:pt x="132217" y="248724"/>
                  </a:cubicBezTo>
                  <a:cubicBezTo>
                    <a:pt x="123724" y="255150"/>
                    <a:pt x="113329" y="258426"/>
                    <a:pt x="101033" y="258426"/>
                  </a:cubicBezTo>
                  <a:cubicBezTo>
                    <a:pt x="88356" y="258426"/>
                    <a:pt x="77708" y="255024"/>
                    <a:pt x="69214" y="248346"/>
                  </a:cubicBezTo>
                  <a:cubicBezTo>
                    <a:pt x="60594" y="241542"/>
                    <a:pt x="54129" y="232344"/>
                    <a:pt x="49819" y="220752"/>
                  </a:cubicBezTo>
                  <a:cubicBezTo>
                    <a:pt x="45382" y="209160"/>
                    <a:pt x="43227" y="196056"/>
                    <a:pt x="43227" y="181440"/>
                  </a:cubicBezTo>
                  <a:cubicBezTo>
                    <a:pt x="43227" y="167076"/>
                    <a:pt x="45382" y="154224"/>
                    <a:pt x="49693" y="142758"/>
                  </a:cubicBezTo>
                  <a:cubicBezTo>
                    <a:pt x="54003" y="131292"/>
                    <a:pt x="60467" y="122346"/>
                    <a:pt x="68961" y="115668"/>
                  </a:cubicBezTo>
                  <a:cubicBezTo>
                    <a:pt x="77454" y="108990"/>
                    <a:pt x="88229" y="105714"/>
                    <a:pt x="101033" y="105714"/>
                  </a:cubicBezTo>
                  <a:cubicBezTo>
                    <a:pt x="113456" y="105714"/>
                    <a:pt x="123977" y="108864"/>
                    <a:pt x="132471" y="115164"/>
                  </a:cubicBezTo>
                  <a:cubicBezTo>
                    <a:pt x="140964" y="121464"/>
                    <a:pt x="147302" y="130284"/>
                    <a:pt x="151739" y="141624"/>
                  </a:cubicBezTo>
                  <a:cubicBezTo>
                    <a:pt x="156049" y="152964"/>
                    <a:pt x="158331" y="166194"/>
                    <a:pt x="158331" y="181314"/>
                  </a:cubicBezTo>
                  <a:cubicBezTo>
                    <a:pt x="158204" y="196812"/>
                    <a:pt x="156049" y="210168"/>
                    <a:pt x="151612" y="22176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5" name="Freihandform 41">
              <a:extLst>
                <a:ext uri="{FF2B5EF4-FFF2-40B4-BE49-F238E27FC236}">
                  <a16:creationId xmlns:a16="http://schemas.microsoft.com/office/drawing/2014/main" id="{874300A1-6EF5-45E8-A8F2-13B9427E8203}"/>
                </a:ext>
              </a:extLst>
            </p:cNvPr>
            <p:cNvSpPr/>
            <p:nvPr/>
          </p:nvSpPr>
          <p:spPr bwMode="invGray">
            <a:xfrm>
              <a:off x="1364393" y="502108"/>
              <a:ext cx="12473" cy="12370"/>
            </a:xfrm>
            <a:custGeom>
              <a:avLst/>
              <a:gdLst>
                <a:gd name="connsiteX0" fmla="*/ 28395 w 57044"/>
                <a:gd name="connsiteY0" fmla="*/ 0 h 56573"/>
                <a:gd name="connsiteX1" fmla="*/ 8367 w 57044"/>
                <a:gd name="connsiteY1" fmla="*/ 8316 h 56573"/>
                <a:gd name="connsiteX2" fmla="*/ 0 w 57044"/>
                <a:gd name="connsiteY2" fmla="*/ 28224 h 56573"/>
                <a:gd name="connsiteX3" fmla="*/ 8367 w 57044"/>
                <a:gd name="connsiteY3" fmla="*/ 48258 h 56573"/>
                <a:gd name="connsiteX4" fmla="*/ 28395 w 57044"/>
                <a:gd name="connsiteY4" fmla="*/ 56574 h 56573"/>
                <a:gd name="connsiteX5" fmla="*/ 42720 w 57044"/>
                <a:gd name="connsiteY5" fmla="*/ 52794 h 56573"/>
                <a:gd name="connsiteX6" fmla="*/ 53115 w 57044"/>
                <a:gd name="connsiteY6" fmla="*/ 42462 h 56573"/>
                <a:gd name="connsiteX7" fmla="*/ 57045 w 57044"/>
                <a:gd name="connsiteY7" fmla="*/ 28224 h 56573"/>
                <a:gd name="connsiteX8" fmla="*/ 48678 w 57044"/>
                <a:gd name="connsiteY8" fmla="*/ 8316 h 56573"/>
                <a:gd name="connsiteX9" fmla="*/ 28395 w 57044"/>
                <a:gd name="connsiteY9" fmla="*/ 0 h 5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44" h="56573">
                  <a:moveTo>
                    <a:pt x="28395" y="0"/>
                  </a:moveTo>
                  <a:cubicBezTo>
                    <a:pt x="20663" y="0"/>
                    <a:pt x="13944" y="2772"/>
                    <a:pt x="8367" y="8316"/>
                  </a:cubicBezTo>
                  <a:cubicBezTo>
                    <a:pt x="2789" y="13860"/>
                    <a:pt x="0" y="20538"/>
                    <a:pt x="0" y="28224"/>
                  </a:cubicBezTo>
                  <a:cubicBezTo>
                    <a:pt x="0" y="36036"/>
                    <a:pt x="2789" y="42714"/>
                    <a:pt x="8367" y="48258"/>
                  </a:cubicBezTo>
                  <a:cubicBezTo>
                    <a:pt x="13944" y="53802"/>
                    <a:pt x="20663" y="56574"/>
                    <a:pt x="28395" y="56574"/>
                  </a:cubicBezTo>
                  <a:cubicBezTo>
                    <a:pt x="33593" y="56574"/>
                    <a:pt x="38410" y="55314"/>
                    <a:pt x="42720" y="52794"/>
                  </a:cubicBezTo>
                  <a:cubicBezTo>
                    <a:pt x="47030" y="50274"/>
                    <a:pt x="50453" y="46872"/>
                    <a:pt x="53115" y="42462"/>
                  </a:cubicBezTo>
                  <a:cubicBezTo>
                    <a:pt x="55777" y="38178"/>
                    <a:pt x="57045" y="33390"/>
                    <a:pt x="57045" y="28224"/>
                  </a:cubicBezTo>
                  <a:cubicBezTo>
                    <a:pt x="57045" y="20412"/>
                    <a:pt x="54256" y="13860"/>
                    <a:pt x="48678" y="8316"/>
                  </a:cubicBezTo>
                  <a:cubicBezTo>
                    <a:pt x="42847" y="2772"/>
                    <a:pt x="36128" y="0"/>
                    <a:pt x="28395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  <p:sp>
        <p:nvSpPr>
          <p:cNvPr id="11" name="Titel 10">
            <a:extLst>
              <a:ext uri="{FF2B5EF4-FFF2-40B4-BE49-F238E27FC236}">
                <a16:creationId xmlns:a16="http://schemas.microsoft.com/office/drawing/2014/main" id="{A61DA797-8454-4364-8770-8101AFDD41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4032000" cy="1883593"/>
          </a:xfrm>
        </p:spPr>
        <p:txBody>
          <a:bodyPr vert="horz" anchor="b"/>
          <a:lstStyle>
            <a:lvl1pPr rtl="0">
              <a:lnSpc>
                <a:spcPct val="85000"/>
              </a:lnSpc>
              <a:defRPr sz="4800" b="0">
                <a:solidFill>
                  <a:schemeClr val="accent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US"/>
              <a:t>Titl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FEAEEB5-CEA6-41B3-AE59-98285007A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3525" y="4357103"/>
            <a:ext cx="4032000" cy="246221"/>
          </a:xfrm>
        </p:spPr>
        <p:txBody>
          <a:bodyPr>
            <a:noAutofit/>
          </a:bodyPr>
          <a:lstStyle>
            <a:lvl1pPr marL="0" indent="0" rtl="0">
              <a:buNone/>
              <a:defRPr sz="1600">
                <a:solidFill>
                  <a:schemeClr val="accent1"/>
                </a:solidFill>
                <a:latin typeface="+mj-lt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line optional Inter Medium 16pt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80E2349F-1508-4D41-A46E-B4E8D0F7F0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3525" y="5688568"/>
            <a:ext cx="4032000" cy="369332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uthor, </a:t>
            </a:r>
            <a:br>
              <a:rPr lang="en-US"/>
            </a:br>
            <a:r>
              <a:rPr lang="en-US"/>
              <a:t>Place, Date Inter 12pt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18F3B326-7E40-4C04-9D7A-2BDF39C7402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111875" cy="6858000"/>
          </a:xfrm>
          <a:solidFill>
            <a:schemeClr val="accent4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Please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729730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-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0834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Bildplatzhalter 42">
            <a:extLst>
              <a:ext uri="{FF2B5EF4-FFF2-40B4-BE49-F238E27FC236}">
                <a16:creationId xmlns:a16="http://schemas.microsoft.com/office/drawing/2014/main" id="{0EF3031C-4C4A-429D-A5A5-4A3422917A2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207875" cy="6858000"/>
          </a:xfrm>
          <a:custGeom>
            <a:avLst/>
            <a:gdLst>
              <a:gd name="connsiteX0" fmla="*/ 1370601 w 12207875"/>
              <a:gd name="connsiteY0" fmla="*/ 502108 h 6858000"/>
              <a:gd name="connsiteX1" fmla="*/ 1366222 w 12207875"/>
              <a:gd name="connsiteY1" fmla="*/ 503926 h 6858000"/>
              <a:gd name="connsiteX2" fmla="*/ 1364392 w 12207875"/>
              <a:gd name="connsiteY2" fmla="*/ 508279 h 6858000"/>
              <a:gd name="connsiteX3" fmla="*/ 1366222 w 12207875"/>
              <a:gd name="connsiteY3" fmla="*/ 512660 h 6858000"/>
              <a:gd name="connsiteX4" fmla="*/ 1370601 w 12207875"/>
              <a:gd name="connsiteY4" fmla="*/ 514478 h 6858000"/>
              <a:gd name="connsiteX5" fmla="*/ 1373733 w 12207875"/>
              <a:gd name="connsiteY5" fmla="*/ 513652 h 6858000"/>
              <a:gd name="connsiteX6" fmla="*/ 1376006 w 12207875"/>
              <a:gd name="connsiteY6" fmla="*/ 511393 h 6858000"/>
              <a:gd name="connsiteX7" fmla="*/ 1376865 w 12207875"/>
              <a:gd name="connsiteY7" fmla="*/ 508279 h 6858000"/>
              <a:gd name="connsiteX8" fmla="*/ 1375036 w 12207875"/>
              <a:gd name="connsiteY8" fmla="*/ 503926 h 6858000"/>
              <a:gd name="connsiteX9" fmla="*/ 1370601 w 12207875"/>
              <a:gd name="connsiteY9" fmla="*/ 502108 h 6858000"/>
              <a:gd name="connsiteX10" fmla="*/ 1329413 w 12207875"/>
              <a:gd name="connsiteY10" fmla="*/ 473511 h 6858000"/>
              <a:gd name="connsiteX11" fmla="*/ 1336287 w 12207875"/>
              <a:gd name="connsiteY11" fmla="*/ 475577 h 6858000"/>
              <a:gd name="connsiteX12" fmla="*/ 1340499 w 12207875"/>
              <a:gd name="connsiteY12" fmla="*/ 481363 h 6858000"/>
              <a:gd name="connsiteX13" fmla="*/ 1341941 w 12207875"/>
              <a:gd name="connsiteY13" fmla="*/ 490041 h 6858000"/>
              <a:gd name="connsiteX14" fmla="*/ 1340472 w 12207875"/>
              <a:gd name="connsiteY14" fmla="*/ 498885 h 6858000"/>
              <a:gd name="connsiteX15" fmla="*/ 1336231 w 12207875"/>
              <a:gd name="connsiteY15" fmla="*/ 504780 h 6858000"/>
              <a:gd name="connsiteX16" fmla="*/ 1329413 w 12207875"/>
              <a:gd name="connsiteY16" fmla="*/ 506901 h 6858000"/>
              <a:gd name="connsiteX17" fmla="*/ 1322456 w 12207875"/>
              <a:gd name="connsiteY17" fmla="*/ 504697 h 6858000"/>
              <a:gd name="connsiteX18" fmla="*/ 1318215 w 12207875"/>
              <a:gd name="connsiteY18" fmla="*/ 498664 h 6858000"/>
              <a:gd name="connsiteX19" fmla="*/ 1316774 w 12207875"/>
              <a:gd name="connsiteY19" fmla="*/ 490069 h 6858000"/>
              <a:gd name="connsiteX20" fmla="*/ 1318187 w 12207875"/>
              <a:gd name="connsiteY20" fmla="*/ 481611 h 6858000"/>
              <a:gd name="connsiteX21" fmla="*/ 1322400 w 12207875"/>
              <a:gd name="connsiteY21" fmla="*/ 475688 h 6858000"/>
              <a:gd name="connsiteX22" fmla="*/ 1329413 w 12207875"/>
              <a:gd name="connsiteY22" fmla="*/ 473511 h 6858000"/>
              <a:gd name="connsiteX23" fmla="*/ 1220844 w 12207875"/>
              <a:gd name="connsiteY23" fmla="*/ 473428 h 6858000"/>
              <a:gd name="connsiteX24" fmla="*/ 1228078 w 12207875"/>
              <a:gd name="connsiteY24" fmla="*/ 475742 h 6858000"/>
              <a:gd name="connsiteX25" fmla="*/ 1232346 w 12207875"/>
              <a:gd name="connsiteY25" fmla="*/ 481886 h 6858000"/>
              <a:gd name="connsiteX26" fmla="*/ 1233732 w 12207875"/>
              <a:gd name="connsiteY26" fmla="*/ 490261 h 6858000"/>
              <a:gd name="connsiteX27" fmla="*/ 1232346 w 12207875"/>
              <a:gd name="connsiteY27" fmla="*/ 498664 h 6858000"/>
              <a:gd name="connsiteX28" fmla="*/ 1228078 w 12207875"/>
              <a:gd name="connsiteY28" fmla="*/ 504780 h 6858000"/>
              <a:gd name="connsiteX29" fmla="*/ 1220844 w 12207875"/>
              <a:gd name="connsiteY29" fmla="*/ 507067 h 6858000"/>
              <a:gd name="connsiteX30" fmla="*/ 1213554 w 12207875"/>
              <a:gd name="connsiteY30" fmla="*/ 504780 h 6858000"/>
              <a:gd name="connsiteX31" fmla="*/ 1209285 w 12207875"/>
              <a:gd name="connsiteY31" fmla="*/ 498664 h 6858000"/>
              <a:gd name="connsiteX32" fmla="*/ 1207900 w 12207875"/>
              <a:gd name="connsiteY32" fmla="*/ 490261 h 6858000"/>
              <a:gd name="connsiteX33" fmla="*/ 1209285 w 12207875"/>
              <a:gd name="connsiteY33" fmla="*/ 481886 h 6858000"/>
              <a:gd name="connsiteX34" fmla="*/ 1213554 w 12207875"/>
              <a:gd name="connsiteY34" fmla="*/ 475742 h 6858000"/>
              <a:gd name="connsiteX35" fmla="*/ 1220844 w 12207875"/>
              <a:gd name="connsiteY35" fmla="*/ 473428 h 6858000"/>
              <a:gd name="connsiteX36" fmla="*/ 1125884 w 12207875"/>
              <a:gd name="connsiteY36" fmla="*/ 466265 h 6858000"/>
              <a:gd name="connsiteX37" fmla="*/ 1139964 w 12207875"/>
              <a:gd name="connsiteY37" fmla="*/ 513899 h 6858000"/>
              <a:gd name="connsiteX38" fmla="*/ 1149444 w 12207875"/>
              <a:gd name="connsiteY38" fmla="*/ 513899 h 6858000"/>
              <a:gd name="connsiteX39" fmla="*/ 1159172 w 12207875"/>
              <a:gd name="connsiteY39" fmla="*/ 479517 h 6858000"/>
              <a:gd name="connsiteX40" fmla="*/ 1159893 w 12207875"/>
              <a:gd name="connsiteY40" fmla="*/ 479517 h 6858000"/>
              <a:gd name="connsiteX41" fmla="*/ 1169622 w 12207875"/>
              <a:gd name="connsiteY41" fmla="*/ 513899 h 6858000"/>
              <a:gd name="connsiteX42" fmla="*/ 1179129 w 12207875"/>
              <a:gd name="connsiteY42" fmla="*/ 513899 h 6858000"/>
              <a:gd name="connsiteX43" fmla="*/ 1193209 w 12207875"/>
              <a:gd name="connsiteY43" fmla="*/ 466265 h 6858000"/>
              <a:gd name="connsiteX44" fmla="*/ 1183564 w 12207875"/>
              <a:gd name="connsiteY44" fmla="*/ 466265 h 6858000"/>
              <a:gd name="connsiteX45" fmla="*/ 1174251 w 12207875"/>
              <a:gd name="connsiteY45" fmla="*/ 501088 h 6858000"/>
              <a:gd name="connsiteX46" fmla="*/ 1173780 w 12207875"/>
              <a:gd name="connsiteY46" fmla="*/ 501088 h 6858000"/>
              <a:gd name="connsiteX47" fmla="*/ 1164411 w 12207875"/>
              <a:gd name="connsiteY47" fmla="*/ 466265 h 6858000"/>
              <a:gd name="connsiteX48" fmla="*/ 1154793 w 12207875"/>
              <a:gd name="connsiteY48" fmla="*/ 466265 h 6858000"/>
              <a:gd name="connsiteX49" fmla="*/ 1145369 w 12207875"/>
              <a:gd name="connsiteY49" fmla="*/ 501226 h 6858000"/>
              <a:gd name="connsiteX50" fmla="*/ 1144898 w 12207875"/>
              <a:gd name="connsiteY50" fmla="*/ 501226 h 6858000"/>
              <a:gd name="connsiteX51" fmla="*/ 1135502 w 12207875"/>
              <a:gd name="connsiteY51" fmla="*/ 466265 h 6858000"/>
              <a:gd name="connsiteX52" fmla="*/ 1220844 w 12207875"/>
              <a:gd name="connsiteY52" fmla="*/ 465659 h 6858000"/>
              <a:gd name="connsiteX53" fmla="*/ 1209091 w 12207875"/>
              <a:gd name="connsiteY53" fmla="*/ 468717 h 6858000"/>
              <a:gd name="connsiteX54" fmla="*/ 1201303 w 12207875"/>
              <a:gd name="connsiteY54" fmla="*/ 477340 h 6858000"/>
              <a:gd name="connsiteX55" fmla="*/ 1198531 w 12207875"/>
              <a:gd name="connsiteY55" fmla="*/ 490289 h 6858000"/>
              <a:gd name="connsiteX56" fmla="*/ 1201303 w 12207875"/>
              <a:gd name="connsiteY56" fmla="*/ 503182 h 6858000"/>
              <a:gd name="connsiteX57" fmla="*/ 1209091 w 12207875"/>
              <a:gd name="connsiteY57" fmla="*/ 511778 h 6858000"/>
              <a:gd name="connsiteX58" fmla="*/ 1220844 w 12207875"/>
              <a:gd name="connsiteY58" fmla="*/ 514836 h 6858000"/>
              <a:gd name="connsiteX59" fmla="*/ 1232596 w 12207875"/>
              <a:gd name="connsiteY59" fmla="*/ 511778 h 6858000"/>
              <a:gd name="connsiteX60" fmla="*/ 1240384 w 12207875"/>
              <a:gd name="connsiteY60" fmla="*/ 503182 h 6858000"/>
              <a:gd name="connsiteX61" fmla="*/ 1243156 w 12207875"/>
              <a:gd name="connsiteY61" fmla="*/ 490289 h 6858000"/>
              <a:gd name="connsiteX62" fmla="*/ 1240384 w 12207875"/>
              <a:gd name="connsiteY62" fmla="*/ 477340 h 6858000"/>
              <a:gd name="connsiteX63" fmla="*/ 1232596 w 12207875"/>
              <a:gd name="connsiteY63" fmla="*/ 468717 h 6858000"/>
              <a:gd name="connsiteX64" fmla="*/ 1220844 w 12207875"/>
              <a:gd name="connsiteY64" fmla="*/ 465659 h 6858000"/>
              <a:gd name="connsiteX65" fmla="*/ 1275309 w 12207875"/>
              <a:gd name="connsiteY65" fmla="*/ 465549 h 6858000"/>
              <a:gd name="connsiteX66" fmla="*/ 1267770 w 12207875"/>
              <a:gd name="connsiteY66" fmla="*/ 467753 h 6858000"/>
              <a:gd name="connsiteX67" fmla="*/ 1263141 w 12207875"/>
              <a:gd name="connsiteY67" fmla="*/ 473814 h 6858000"/>
              <a:gd name="connsiteX68" fmla="*/ 1262642 w 12207875"/>
              <a:gd name="connsiteY68" fmla="*/ 473814 h 6858000"/>
              <a:gd name="connsiteX69" fmla="*/ 1262642 w 12207875"/>
              <a:gd name="connsiteY69" fmla="*/ 466238 h 6858000"/>
              <a:gd name="connsiteX70" fmla="*/ 1253634 w 12207875"/>
              <a:gd name="connsiteY70" fmla="*/ 466238 h 6858000"/>
              <a:gd name="connsiteX71" fmla="*/ 1253634 w 12207875"/>
              <a:gd name="connsiteY71" fmla="*/ 513844 h 6858000"/>
              <a:gd name="connsiteX72" fmla="*/ 1262975 w 12207875"/>
              <a:gd name="connsiteY72" fmla="*/ 513844 h 6858000"/>
              <a:gd name="connsiteX73" fmla="*/ 1262975 w 12207875"/>
              <a:gd name="connsiteY73" fmla="*/ 484806 h 6858000"/>
              <a:gd name="connsiteX74" fmla="*/ 1264471 w 12207875"/>
              <a:gd name="connsiteY74" fmla="*/ 479269 h 6858000"/>
              <a:gd name="connsiteX75" fmla="*/ 1268546 w 12207875"/>
              <a:gd name="connsiteY75" fmla="*/ 475467 h 6858000"/>
              <a:gd name="connsiteX76" fmla="*/ 1274422 w 12207875"/>
              <a:gd name="connsiteY76" fmla="*/ 474090 h 6858000"/>
              <a:gd name="connsiteX77" fmla="*/ 1277277 w 12207875"/>
              <a:gd name="connsiteY77" fmla="*/ 474282 h 6858000"/>
              <a:gd name="connsiteX78" fmla="*/ 1279272 w 12207875"/>
              <a:gd name="connsiteY78" fmla="*/ 474641 h 6858000"/>
              <a:gd name="connsiteX79" fmla="*/ 1279272 w 12207875"/>
              <a:gd name="connsiteY79" fmla="*/ 465769 h 6858000"/>
              <a:gd name="connsiteX80" fmla="*/ 1277388 w 12207875"/>
              <a:gd name="connsiteY80" fmla="*/ 465604 h 6858000"/>
              <a:gd name="connsiteX81" fmla="*/ 1275309 w 12207875"/>
              <a:gd name="connsiteY81" fmla="*/ 465549 h 6858000"/>
              <a:gd name="connsiteX82" fmla="*/ 1341774 w 12207875"/>
              <a:gd name="connsiteY82" fmla="*/ 450397 h 6858000"/>
              <a:gd name="connsiteX83" fmla="*/ 1341774 w 12207875"/>
              <a:gd name="connsiteY83" fmla="*/ 473980 h 6858000"/>
              <a:gd name="connsiteX84" fmla="*/ 1341747 w 12207875"/>
              <a:gd name="connsiteY84" fmla="*/ 473980 h 6858000"/>
              <a:gd name="connsiteX85" fmla="*/ 1341192 w 12207875"/>
              <a:gd name="connsiteY85" fmla="*/ 473980 h 6858000"/>
              <a:gd name="connsiteX86" fmla="*/ 1338836 w 12207875"/>
              <a:gd name="connsiteY86" fmla="*/ 470536 h 6858000"/>
              <a:gd name="connsiteX87" fmla="*/ 1334596 w 12207875"/>
              <a:gd name="connsiteY87" fmla="*/ 467120 h 6858000"/>
              <a:gd name="connsiteX88" fmla="*/ 1327417 w 12207875"/>
              <a:gd name="connsiteY88" fmla="*/ 465660 h 6858000"/>
              <a:gd name="connsiteX89" fmla="*/ 1317079 w 12207875"/>
              <a:gd name="connsiteY89" fmla="*/ 468580 h 6858000"/>
              <a:gd name="connsiteX90" fmla="*/ 1309927 w 12207875"/>
              <a:gd name="connsiteY90" fmla="*/ 476982 h 6858000"/>
              <a:gd name="connsiteX91" fmla="*/ 1307322 w 12207875"/>
              <a:gd name="connsiteY91" fmla="*/ 490179 h 6858000"/>
              <a:gd name="connsiteX92" fmla="*/ 1309900 w 12207875"/>
              <a:gd name="connsiteY92" fmla="*/ 503403 h 6858000"/>
              <a:gd name="connsiteX93" fmla="*/ 1317023 w 12207875"/>
              <a:gd name="connsiteY93" fmla="*/ 511860 h 6858000"/>
              <a:gd name="connsiteX94" fmla="*/ 1327362 w 12207875"/>
              <a:gd name="connsiteY94" fmla="*/ 514808 h 6858000"/>
              <a:gd name="connsiteX95" fmla="*/ 1334485 w 12207875"/>
              <a:gd name="connsiteY95" fmla="*/ 513348 h 6858000"/>
              <a:gd name="connsiteX96" fmla="*/ 1338809 w 12207875"/>
              <a:gd name="connsiteY96" fmla="*/ 509932 h 6858000"/>
              <a:gd name="connsiteX97" fmla="*/ 1341220 w 12207875"/>
              <a:gd name="connsiteY97" fmla="*/ 506461 h 6858000"/>
              <a:gd name="connsiteX98" fmla="*/ 1341996 w 12207875"/>
              <a:gd name="connsiteY98" fmla="*/ 506461 h 6858000"/>
              <a:gd name="connsiteX99" fmla="*/ 1341996 w 12207875"/>
              <a:gd name="connsiteY99" fmla="*/ 513872 h 6858000"/>
              <a:gd name="connsiteX100" fmla="*/ 1351115 w 12207875"/>
              <a:gd name="connsiteY100" fmla="*/ 513872 h 6858000"/>
              <a:gd name="connsiteX101" fmla="*/ 1351115 w 12207875"/>
              <a:gd name="connsiteY101" fmla="*/ 450397 h 6858000"/>
              <a:gd name="connsiteX102" fmla="*/ 1287449 w 12207875"/>
              <a:gd name="connsiteY102" fmla="*/ 450397 h 6858000"/>
              <a:gd name="connsiteX103" fmla="*/ 1287449 w 12207875"/>
              <a:gd name="connsiteY103" fmla="*/ 513872 h 6858000"/>
              <a:gd name="connsiteX104" fmla="*/ 1296790 w 12207875"/>
              <a:gd name="connsiteY104" fmla="*/ 513872 h 6858000"/>
              <a:gd name="connsiteX105" fmla="*/ 1296790 w 12207875"/>
              <a:gd name="connsiteY105" fmla="*/ 450397 h 6858000"/>
              <a:gd name="connsiteX106" fmla="*/ 1297372 w 12207875"/>
              <a:gd name="connsiteY106" fmla="*/ 401633 h 6858000"/>
              <a:gd name="connsiteX107" fmla="*/ 1297372 w 12207875"/>
              <a:gd name="connsiteY107" fmla="*/ 407777 h 6858000"/>
              <a:gd name="connsiteX108" fmla="*/ 1297344 w 12207875"/>
              <a:gd name="connsiteY108" fmla="*/ 407777 h 6858000"/>
              <a:gd name="connsiteX109" fmla="*/ 1295903 w 12207875"/>
              <a:gd name="connsiteY109" fmla="*/ 413066 h 6858000"/>
              <a:gd name="connsiteX110" fmla="*/ 1291689 w 12207875"/>
              <a:gd name="connsiteY110" fmla="*/ 417061 h 6858000"/>
              <a:gd name="connsiteX111" fmla="*/ 1285065 w 12207875"/>
              <a:gd name="connsiteY111" fmla="*/ 418576 h 6858000"/>
              <a:gd name="connsiteX112" fmla="*/ 1278552 w 12207875"/>
              <a:gd name="connsiteY112" fmla="*/ 416813 h 6858000"/>
              <a:gd name="connsiteX113" fmla="*/ 1276002 w 12207875"/>
              <a:gd name="connsiteY113" fmla="*/ 411634 h 6858000"/>
              <a:gd name="connsiteX114" fmla="*/ 1277332 w 12207875"/>
              <a:gd name="connsiteY114" fmla="*/ 407639 h 6858000"/>
              <a:gd name="connsiteX115" fmla="*/ 1280880 w 12207875"/>
              <a:gd name="connsiteY115" fmla="*/ 405325 h 6858000"/>
              <a:gd name="connsiteX116" fmla="*/ 1285814 w 12207875"/>
              <a:gd name="connsiteY116" fmla="*/ 404168 h 6858000"/>
              <a:gd name="connsiteX117" fmla="*/ 1288696 w 12207875"/>
              <a:gd name="connsiteY117" fmla="*/ 403782 h 6858000"/>
              <a:gd name="connsiteX118" fmla="*/ 1292216 w 12207875"/>
              <a:gd name="connsiteY118" fmla="*/ 403259 h 6858000"/>
              <a:gd name="connsiteX119" fmla="*/ 1295459 w 12207875"/>
              <a:gd name="connsiteY119" fmla="*/ 402542 h 6858000"/>
              <a:gd name="connsiteX120" fmla="*/ 1297372 w 12207875"/>
              <a:gd name="connsiteY120" fmla="*/ 401633 h 6858000"/>
              <a:gd name="connsiteX121" fmla="*/ 1363312 w 12207875"/>
              <a:gd name="connsiteY121" fmla="*/ 384608 h 6858000"/>
              <a:gd name="connsiteX122" fmla="*/ 1370352 w 12207875"/>
              <a:gd name="connsiteY122" fmla="*/ 386785 h 6858000"/>
              <a:gd name="connsiteX123" fmla="*/ 1374593 w 12207875"/>
              <a:gd name="connsiteY123" fmla="*/ 392708 h 6858000"/>
              <a:gd name="connsiteX124" fmla="*/ 1376007 w 12207875"/>
              <a:gd name="connsiteY124" fmla="*/ 401166 h 6858000"/>
              <a:gd name="connsiteX125" fmla="*/ 1374565 w 12207875"/>
              <a:gd name="connsiteY125" fmla="*/ 409734 h 6858000"/>
              <a:gd name="connsiteX126" fmla="*/ 1370297 w 12207875"/>
              <a:gd name="connsiteY126" fmla="*/ 415767 h 6858000"/>
              <a:gd name="connsiteX127" fmla="*/ 1363312 w 12207875"/>
              <a:gd name="connsiteY127" fmla="*/ 417971 h 6858000"/>
              <a:gd name="connsiteX128" fmla="*/ 1356521 w 12207875"/>
              <a:gd name="connsiteY128" fmla="*/ 415850 h 6858000"/>
              <a:gd name="connsiteX129" fmla="*/ 1352280 w 12207875"/>
              <a:gd name="connsiteY129" fmla="*/ 409954 h 6858000"/>
              <a:gd name="connsiteX130" fmla="*/ 1350811 w 12207875"/>
              <a:gd name="connsiteY130" fmla="*/ 401138 h 6858000"/>
              <a:gd name="connsiteX131" fmla="*/ 1352253 w 12207875"/>
              <a:gd name="connsiteY131" fmla="*/ 392460 h 6858000"/>
              <a:gd name="connsiteX132" fmla="*/ 1356466 w 12207875"/>
              <a:gd name="connsiteY132" fmla="*/ 386674 h 6858000"/>
              <a:gd name="connsiteX133" fmla="*/ 1363312 w 12207875"/>
              <a:gd name="connsiteY133" fmla="*/ 384608 h 6858000"/>
              <a:gd name="connsiteX134" fmla="*/ 1181486 w 12207875"/>
              <a:gd name="connsiteY134" fmla="*/ 384497 h 6858000"/>
              <a:gd name="connsiteX135" fmla="*/ 1188720 w 12207875"/>
              <a:gd name="connsiteY135" fmla="*/ 386811 h 6858000"/>
              <a:gd name="connsiteX136" fmla="*/ 1192988 w 12207875"/>
              <a:gd name="connsiteY136" fmla="*/ 392955 h 6858000"/>
              <a:gd name="connsiteX137" fmla="*/ 1194374 w 12207875"/>
              <a:gd name="connsiteY137" fmla="*/ 401330 h 6858000"/>
              <a:gd name="connsiteX138" fmla="*/ 1192988 w 12207875"/>
              <a:gd name="connsiteY138" fmla="*/ 409733 h 6858000"/>
              <a:gd name="connsiteX139" fmla="*/ 1188720 w 12207875"/>
              <a:gd name="connsiteY139" fmla="*/ 415849 h 6858000"/>
              <a:gd name="connsiteX140" fmla="*/ 1181486 w 12207875"/>
              <a:gd name="connsiteY140" fmla="*/ 418135 h 6858000"/>
              <a:gd name="connsiteX141" fmla="*/ 1174196 w 12207875"/>
              <a:gd name="connsiteY141" fmla="*/ 415849 h 6858000"/>
              <a:gd name="connsiteX142" fmla="*/ 1169927 w 12207875"/>
              <a:gd name="connsiteY142" fmla="*/ 409733 h 6858000"/>
              <a:gd name="connsiteX143" fmla="*/ 1168542 w 12207875"/>
              <a:gd name="connsiteY143" fmla="*/ 401330 h 6858000"/>
              <a:gd name="connsiteX144" fmla="*/ 1169927 w 12207875"/>
              <a:gd name="connsiteY144" fmla="*/ 392955 h 6858000"/>
              <a:gd name="connsiteX145" fmla="*/ 1174196 w 12207875"/>
              <a:gd name="connsiteY145" fmla="*/ 386811 h 6858000"/>
              <a:gd name="connsiteX146" fmla="*/ 1181486 w 12207875"/>
              <a:gd name="connsiteY146" fmla="*/ 384497 h 6858000"/>
              <a:gd name="connsiteX147" fmla="*/ 1530004 w 12207875"/>
              <a:gd name="connsiteY147" fmla="*/ 384387 h 6858000"/>
              <a:gd name="connsiteX148" fmla="*/ 1536324 w 12207875"/>
              <a:gd name="connsiteY148" fmla="*/ 386040 h 6858000"/>
              <a:gd name="connsiteX149" fmla="*/ 1540509 w 12207875"/>
              <a:gd name="connsiteY149" fmla="*/ 390531 h 6858000"/>
              <a:gd name="connsiteX150" fmla="*/ 1542006 w 12207875"/>
              <a:gd name="connsiteY150" fmla="*/ 397032 h 6858000"/>
              <a:gd name="connsiteX151" fmla="*/ 1517198 w 12207875"/>
              <a:gd name="connsiteY151" fmla="*/ 397032 h 6858000"/>
              <a:gd name="connsiteX152" fmla="*/ 1517198 w 12207875"/>
              <a:gd name="connsiteY152" fmla="*/ 397005 h 6858000"/>
              <a:gd name="connsiteX153" fmla="*/ 1518667 w 12207875"/>
              <a:gd name="connsiteY153" fmla="*/ 391247 h 6858000"/>
              <a:gd name="connsiteX154" fmla="*/ 1523158 w 12207875"/>
              <a:gd name="connsiteY154" fmla="*/ 386288 h 6858000"/>
              <a:gd name="connsiteX155" fmla="*/ 1530004 w 12207875"/>
              <a:gd name="connsiteY155" fmla="*/ 384387 h 6858000"/>
              <a:gd name="connsiteX156" fmla="*/ 1415227 w 12207875"/>
              <a:gd name="connsiteY156" fmla="*/ 384387 h 6858000"/>
              <a:gd name="connsiteX157" fmla="*/ 1421547 w 12207875"/>
              <a:gd name="connsiteY157" fmla="*/ 386040 h 6858000"/>
              <a:gd name="connsiteX158" fmla="*/ 1425732 w 12207875"/>
              <a:gd name="connsiteY158" fmla="*/ 390531 h 6858000"/>
              <a:gd name="connsiteX159" fmla="*/ 1427229 w 12207875"/>
              <a:gd name="connsiteY159" fmla="*/ 397032 h 6858000"/>
              <a:gd name="connsiteX160" fmla="*/ 1402421 w 12207875"/>
              <a:gd name="connsiteY160" fmla="*/ 397032 h 6858000"/>
              <a:gd name="connsiteX161" fmla="*/ 1402421 w 12207875"/>
              <a:gd name="connsiteY161" fmla="*/ 397005 h 6858000"/>
              <a:gd name="connsiteX162" fmla="*/ 1403890 w 12207875"/>
              <a:gd name="connsiteY162" fmla="*/ 391247 h 6858000"/>
              <a:gd name="connsiteX163" fmla="*/ 1408381 w 12207875"/>
              <a:gd name="connsiteY163" fmla="*/ 386288 h 6858000"/>
              <a:gd name="connsiteX164" fmla="*/ 1415227 w 12207875"/>
              <a:gd name="connsiteY164" fmla="*/ 384387 h 6858000"/>
              <a:gd name="connsiteX165" fmla="*/ 1529948 w 12207875"/>
              <a:gd name="connsiteY165" fmla="*/ 376728 h 6858000"/>
              <a:gd name="connsiteX166" fmla="*/ 1518307 w 12207875"/>
              <a:gd name="connsiteY166" fmla="*/ 379869 h 6858000"/>
              <a:gd name="connsiteX167" fmla="*/ 1510574 w 12207875"/>
              <a:gd name="connsiteY167" fmla="*/ 388574 h 6858000"/>
              <a:gd name="connsiteX168" fmla="*/ 1507802 w 12207875"/>
              <a:gd name="connsiteY168" fmla="*/ 401468 h 6858000"/>
              <a:gd name="connsiteX169" fmla="*/ 1510574 w 12207875"/>
              <a:gd name="connsiteY169" fmla="*/ 414389 h 6858000"/>
              <a:gd name="connsiteX170" fmla="*/ 1518418 w 12207875"/>
              <a:gd name="connsiteY170" fmla="*/ 422902 h 6858000"/>
              <a:gd name="connsiteX171" fmla="*/ 1530614 w 12207875"/>
              <a:gd name="connsiteY171" fmla="*/ 425932 h 6858000"/>
              <a:gd name="connsiteX172" fmla="*/ 1539955 w 12207875"/>
              <a:gd name="connsiteY172" fmla="*/ 424334 h 6858000"/>
              <a:gd name="connsiteX173" fmla="*/ 1546773 w 12207875"/>
              <a:gd name="connsiteY173" fmla="*/ 419844 h 6858000"/>
              <a:gd name="connsiteX174" fmla="*/ 1550570 w 12207875"/>
              <a:gd name="connsiteY174" fmla="*/ 413066 h 6858000"/>
              <a:gd name="connsiteX175" fmla="*/ 1541756 w 12207875"/>
              <a:gd name="connsiteY175" fmla="*/ 411496 h 6858000"/>
              <a:gd name="connsiteX176" fmla="*/ 1539317 w 12207875"/>
              <a:gd name="connsiteY176" fmla="*/ 415243 h 6858000"/>
              <a:gd name="connsiteX177" fmla="*/ 1535547 w 12207875"/>
              <a:gd name="connsiteY177" fmla="*/ 417530 h 6858000"/>
              <a:gd name="connsiteX178" fmla="*/ 1530725 w 12207875"/>
              <a:gd name="connsiteY178" fmla="*/ 418301 h 6858000"/>
              <a:gd name="connsiteX179" fmla="*/ 1523573 w 12207875"/>
              <a:gd name="connsiteY179" fmla="*/ 416538 h 6858000"/>
              <a:gd name="connsiteX180" fmla="*/ 1518834 w 12207875"/>
              <a:gd name="connsiteY180" fmla="*/ 411441 h 6858000"/>
              <a:gd name="connsiteX181" fmla="*/ 1517198 w 12207875"/>
              <a:gd name="connsiteY181" fmla="*/ 403975 h 6858000"/>
              <a:gd name="connsiteX182" fmla="*/ 1551180 w 12207875"/>
              <a:gd name="connsiteY182" fmla="*/ 403975 h 6858000"/>
              <a:gd name="connsiteX183" fmla="*/ 1551180 w 12207875"/>
              <a:gd name="connsiteY183" fmla="*/ 400696 h 6858000"/>
              <a:gd name="connsiteX184" fmla="*/ 1549434 w 12207875"/>
              <a:gd name="connsiteY184" fmla="*/ 389676 h 6858000"/>
              <a:gd name="connsiteX185" fmla="*/ 1544639 w 12207875"/>
              <a:gd name="connsiteY185" fmla="*/ 382238 h 6858000"/>
              <a:gd name="connsiteX186" fmla="*/ 1537820 w 12207875"/>
              <a:gd name="connsiteY186" fmla="*/ 378050 h 6858000"/>
              <a:gd name="connsiteX187" fmla="*/ 1529948 w 12207875"/>
              <a:gd name="connsiteY187" fmla="*/ 376728 h 6858000"/>
              <a:gd name="connsiteX188" fmla="*/ 1415171 w 12207875"/>
              <a:gd name="connsiteY188" fmla="*/ 376728 h 6858000"/>
              <a:gd name="connsiteX189" fmla="*/ 1403530 w 12207875"/>
              <a:gd name="connsiteY189" fmla="*/ 379869 h 6858000"/>
              <a:gd name="connsiteX190" fmla="*/ 1395797 w 12207875"/>
              <a:gd name="connsiteY190" fmla="*/ 388574 h 6858000"/>
              <a:gd name="connsiteX191" fmla="*/ 1393025 w 12207875"/>
              <a:gd name="connsiteY191" fmla="*/ 401468 h 6858000"/>
              <a:gd name="connsiteX192" fmla="*/ 1395797 w 12207875"/>
              <a:gd name="connsiteY192" fmla="*/ 414389 h 6858000"/>
              <a:gd name="connsiteX193" fmla="*/ 1403641 w 12207875"/>
              <a:gd name="connsiteY193" fmla="*/ 422902 h 6858000"/>
              <a:gd name="connsiteX194" fmla="*/ 1415837 w 12207875"/>
              <a:gd name="connsiteY194" fmla="*/ 425932 h 6858000"/>
              <a:gd name="connsiteX195" fmla="*/ 1425177 w 12207875"/>
              <a:gd name="connsiteY195" fmla="*/ 424334 h 6858000"/>
              <a:gd name="connsiteX196" fmla="*/ 1431996 w 12207875"/>
              <a:gd name="connsiteY196" fmla="*/ 419844 h 6858000"/>
              <a:gd name="connsiteX197" fmla="*/ 1435793 w 12207875"/>
              <a:gd name="connsiteY197" fmla="*/ 413066 h 6858000"/>
              <a:gd name="connsiteX198" fmla="*/ 1426979 w 12207875"/>
              <a:gd name="connsiteY198" fmla="*/ 411496 h 6858000"/>
              <a:gd name="connsiteX199" fmla="*/ 1424540 w 12207875"/>
              <a:gd name="connsiteY199" fmla="*/ 415243 h 6858000"/>
              <a:gd name="connsiteX200" fmla="*/ 1420771 w 12207875"/>
              <a:gd name="connsiteY200" fmla="*/ 417530 h 6858000"/>
              <a:gd name="connsiteX201" fmla="*/ 1415947 w 12207875"/>
              <a:gd name="connsiteY201" fmla="*/ 418301 h 6858000"/>
              <a:gd name="connsiteX202" fmla="*/ 1408796 w 12207875"/>
              <a:gd name="connsiteY202" fmla="*/ 416538 h 6858000"/>
              <a:gd name="connsiteX203" fmla="*/ 1404057 w 12207875"/>
              <a:gd name="connsiteY203" fmla="*/ 411441 h 6858000"/>
              <a:gd name="connsiteX204" fmla="*/ 1402421 w 12207875"/>
              <a:gd name="connsiteY204" fmla="*/ 403975 h 6858000"/>
              <a:gd name="connsiteX205" fmla="*/ 1436403 w 12207875"/>
              <a:gd name="connsiteY205" fmla="*/ 403975 h 6858000"/>
              <a:gd name="connsiteX206" fmla="*/ 1436403 w 12207875"/>
              <a:gd name="connsiteY206" fmla="*/ 400696 h 6858000"/>
              <a:gd name="connsiteX207" fmla="*/ 1434657 w 12207875"/>
              <a:gd name="connsiteY207" fmla="*/ 389676 h 6858000"/>
              <a:gd name="connsiteX208" fmla="*/ 1429862 w 12207875"/>
              <a:gd name="connsiteY208" fmla="*/ 382238 h 6858000"/>
              <a:gd name="connsiteX209" fmla="*/ 1423043 w 12207875"/>
              <a:gd name="connsiteY209" fmla="*/ 378050 h 6858000"/>
              <a:gd name="connsiteX210" fmla="*/ 1415171 w 12207875"/>
              <a:gd name="connsiteY210" fmla="*/ 376728 h 6858000"/>
              <a:gd name="connsiteX211" fmla="*/ 1288086 w 12207875"/>
              <a:gd name="connsiteY211" fmla="*/ 376728 h 6858000"/>
              <a:gd name="connsiteX212" fmla="*/ 1279827 w 12207875"/>
              <a:gd name="connsiteY212" fmla="*/ 377940 h 6858000"/>
              <a:gd name="connsiteX213" fmla="*/ 1272897 w 12207875"/>
              <a:gd name="connsiteY213" fmla="*/ 381852 h 6858000"/>
              <a:gd name="connsiteX214" fmla="*/ 1268324 w 12207875"/>
              <a:gd name="connsiteY214" fmla="*/ 388877 h 6858000"/>
              <a:gd name="connsiteX215" fmla="*/ 1277083 w 12207875"/>
              <a:gd name="connsiteY215" fmla="*/ 390861 h 6858000"/>
              <a:gd name="connsiteX216" fmla="*/ 1280824 w 12207875"/>
              <a:gd name="connsiteY216" fmla="*/ 386288 h 6858000"/>
              <a:gd name="connsiteX217" fmla="*/ 1288225 w 12207875"/>
              <a:gd name="connsiteY217" fmla="*/ 384222 h 6858000"/>
              <a:gd name="connsiteX218" fmla="*/ 1295043 w 12207875"/>
              <a:gd name="connsiteY218" fmla="*/ 386453 h 6858000"/>
              <a:gd name="connsiteX219" fmla="*/ 1297344 w 12207875"/>
              <a:gd name="connsiteY219" fmla="*/ 392762 h 6858000"/>
              <a:gd name="connsiteX220" fmla="*/ 1297344 w 12207875"/>
              <a:gd name="connsiteY220" fmla="*/ 392982 h 6858000"/>
              <a:gd name="connsiteX221" fmla="*/ 1296124 w 12207875"/>
              <a:gd name="connsiteY221" fmla="*/ 395407 h 6858000"/>
              <a:gd name="connsiteX222" fmla="*/ 1292216 w 12207875"/>
              <a:gd name="connsiteY222" fmla="*/ 396481 h 6858000"/>
              <a:gd name="connsiteX223" fmla="*/ 1285231 w 12207875"/>
              <a:gd name="connsiteY223" fmla="*/ 397308 h 6858000"/>
              <a:gd name="connsiteX224" fmla="*/ 1278552 w 12207875"/>
              <a:gd name="connsiteY224" fmla="*/ 398492 h 6858000"/>
              <a:gd name="connsiteX225" fmla="*/ 1272620 w 12207875"/>
              <a:gd name="connsiteY225" fmla="*/ 400779 h 6858000"/>
              <a:gd name="connsiteX226" fmla="*/ 1268407 w 12207875"/>
              <a:gd name="connsiteY226" fmla="*/ 404912 h 6858000"/>
              <a:gd name="connsiteX227" fmla="*/ 1266855 w 12207875"/>
              <a:gd name="connsiteY227" fmla="*/ 411551 h 6858000"/>
              <a:gd name="connsiteX228" fmla="*/ 1268989 w 12207875"/>
              <a:gd name="connsiteY228" fmla="*/ 419458 h 6858000"/>
              <a:gd name="connsiteX229" fmla="*/ 1274810 w 12207875"/>
              <a:gd name="connsiteY229" fmla="*/ 424362 h 6858000"/>
              <a:gd name="connsiteX230" fmla="*/ 1283042 w 12207875"/>
              <a:gd name="connsiteY230" fmla="*/ 426042 h 6858000"/>
              <a:gd name="connsiteX231" fmla="*/ 1289832 w 12207875"/>
              <a:gd name="connsiteY231" fmla="*/ 424885 h 6858000"/>
              <a:gd name="connsiteX232" fmla="*/ 1294489 w 12207875"/>
              <a:gd name="connsiteY232" fmla="*/ 421992 h 6858000"/>
              <a:gd name="connsiteX233" fmla="*/ 1297205 w 12207875"/>
              <a:gd name="connsiteY233" fmla="*/ 418466 h 6858000"/>
              <a:gd name="connsiteX234" fmla="*/ 1297593 w 12207875"/>
              <a:gd name="connsiteY234" fmla="*/ 418466 h 6858000"/>
              <a:gd name="connsiteX235" fmla="*/ 1297593 w 12207875"/>
              <a:gd name="connsiteY235" fmla="*/ 424968 h 6858000"/>
              <a:gd name="connsiteX236" fmla="*/ 1306712 w 12207875"/>
              <a:gd name="connsiteY236" fmla="*/ 424968 h 6858000"/>
              <a:gd name="connsiteX237" fmla="*/ 1306712 w 12207875"/>
              <a:gd name="connsiteY237" fmla="*/ 393341 h 6858000"/>
              <a:gd name="connsiteX238" fmla="*/ 1304883 w 12207875"/>
              <a:gd name="connsiteY238" fmla="*/ 384855 h 6858000"/>
              <a:gd name="connsiteX239" fmla="*/ 1300227 w 12207875"/>
              <a:gd name="connsiteY239" fmla="*/ 379814 h 6858000"/>
              <a:gd name="connsiteX240" fmla="*/ 1294184 w 12207875"/>
              <a:gd name="connsiteY240" fmla="*/ 377389 h 6858000"/>
              <a:gd name="connsiteX241" fmla="*/ 1288086 w 12207875"/>
              <a:gd name="connsiteY241" fmla="*/ 376728 h 6858000"/>
              <a:gd name="connsiteX242" fmla="*/ 1181486 w 12207875"/>
              <a:gd name="connsiteY242" fmla="*/ 376728 h 6858000"/>
              <a:gd name="connsiteX243" fmla="*/ 1169733 w 12207875"/>
              <a:gd name="connsiteY243" fmla="*/ 379786 h 6858000"/>
              <a:gd name="connsiteX244" fmla="*/ 1161945 w 12207875"/>
              <a:gd name="connsiteY244" fmla="*/ 388409 h 6858000"/>
              <a:gd name="connsiteX245" fmla="*/ 1159173 w 12207875"/>
              <a:gd name="connsiteY245" fmla="*/ 401357 h 6858000"/>
              <a:gd name="connsiteX246" fmla="*/ 1161945 w 12207875"/>
              <a:gd name="connsiteY246" fmla="*/ 414251 h 6858000"/>
              <a:gd name="connsiteX247" fmla="*/ 1169733 w 12207875"/>
              <a:gd name="connsiteY247" fmla="*/ 422846 h 6858000"/>
              <a:gd name="connsiteX248" fmla="*/ 1181486 w 12207875"/>
              <a:gd name="connsiteY248" fmla="*/ 425904 h 6858000"/>
              <a:gd name="connsiteX249" fmla="*/ 1193238 w 12207875"/>
              <a:gd name="connsiteY249" fmla="*/ 422846 h 6858000"/>
              <a:gd name="connsiteX250" fmla="*/ 1201026 w 12207875"/>
              <a:gd name="connsiteY250" fmla="*/ 414251 h 6858000"/>
              <a:gd name="connsiteX251" fmla="*/ 1203798 w 12207875"/>
              <a:gd name="connsiteY251" fmla="*/ 401357 h 6858000"/>
              <a:gd name="connsiteX252" fmla="*/ 1201026 w 12207875"/>
              <a:gd name="connsiteY252" fmla="*/ 388409 h 6858000"/>
              <a:gd name="connsiteX253" fmla="*/ 1193238 w 12207875"/>
              <a:gd name="connsiteY253" fmla="*/ 379786 h 6858000"/>
              <a:gd name="connsiteX254" fmla="*/ 1181486 w 12207875"/>
              <a:gd name="connsiteY254" fmla="*/ 376728 h 6858000"/>
              <a:gd name="connsiteX255" fmla="*/ 1582528 w 12207875"/>
              <a:gd name="connsiteY255" fmla="*/ 376618 h 6858000"/>
              <a:gd name="connsiteX256" fmla="*/ 1574989 w 12207875"/>
              <a:gd name="connsiteY256" fmla="*/ 378822 h 6858000"/>
              <a:gd name="connsiteX257" fmla="*/ 1570360 w 12207875"/>
              <a:gd name="connsiteY257" fmla="*/ 384883 h 6858000"/>
              <a:gd name="connsiteX258" fmla="*/ 1569861 w 12207875"/>
              <a:gd name="connsiteY258" fmla="*/ 384883 h 6858000"/>
              <a:gd name="connsiteX259" fmla="*/ 1569861 w 12207875"/>
              <a:gd name="connsiteY259" fmla="*/ 377307 h 6858000"/>
              <a:gd name="connsiteX260" fmla="*/ 1560853 w 12207875"/>
              <a:gd name="connsiteY260" fmla="*/ 377307 h 6858000"/>
              <a:gd name="connsiteX261" fmla="*/ 1560853 w 12207875"/>
              <a:gd name="connsiteY261" fmla="*/ 424913 h 6858000"/>
              <a:gd name="connsiteX262" fmla="*/ 1570194 w 12207875"/>
              <a:gd name="connsiteY262" fmla="*/ 424913 h 6858000"/>
              <a:gd name="connsiteX263" fmla="*/ 1570194 w 12207875"/>
              <a:gd name="connsiteY263" fmla="*/ 395875 h 6858000"/>
              <a:gd name="connsiteX264" fmla="*/ 1571690 w 12207875"/>
              <a:gd name="connsiteY264" fmla="*/ 390338 h 6858000"/>
              <a:gd name="connsiteX265" fmla="*/ 1575765 w 12207875"/>
              <a:gd name="connsiteY265" fmla="*/ 386536 h 6858000"/>
              <a:gd name="connsiteX266" fmla="*/ 1581641 w 12207875"/>
              <a:gd name="connsiteY266" fmla="*/ 385159 h 6858000"/>
              <a:gd name="connsiteX267" fmla="*/ 1584496 w 12207875"/>
              <a:gd name="connsiteY267" fmla="*/ 385351 h 6858000"/>
              <a:gd name="connsiteX268" fmla="*/ 1586491 w 12207875"/>
              <a:gd name="connsiteY268" fmla="*/ 385710 h 6858000"/>
              <a:gd name="connsiteX269" fmla="*/ 1586491 w 12207875"/>
              <a:gd name="connsiteY269" fmla="*/ 376838 h 6858000"/>
              <a:gd name="connsiteX270" fmla="*/ 1584607 w 12207875"/>
              <a:gd name="connsiteY270" fmla="*/ 376673 h 6858000"/>
              <a:gd name="connsiteX271" fmla="*/ 1582528 w 12207875"/>
              <a:gd name="connsiteY271" fmla="*/ 376618 h 6858000"/>
              <a:gd name="connsiteX272" fmla="*/ 1235146 w 12207875"/>
              <a:gd name="connsiteY272" fmla="*/ 376618 h 6858000"/>
              <a:gd name="connsiteX273" fmla="*/ 1227607 w 12207875"/>
              <a:gd name="connsiteY273" fmla="*/ 378822 h 6858000"/>
              <a:gd name="connsiteX274" fmla="*/ 1222978 w 12207875"/>
              <a:gd name="connsiteY274" fmla="*/ 384883 h 6858000"/>
              <a:gd name="connsiteX275" fmla="*/ 1222479 w 12207875"/>
              <a:gd name="connsiteY275" fmla="*/ 384883 h 6858000"/>
              <a:gd name="connsiteX276" fmla="*/ 1222479 w 12207875"/>
              <a:gd name="connsiteY276" fmla="*/ 377334 h 6858000"/>
              <a:gd name="connsiteX277" fmla="*/ 1213471 w 12207875"/>
              <a:gd name="connsiteY277" fmla="*/ 377334 h 6858000"/>
              <a:gd name="connsiteX278" fmla="*/ 1213471 w 12207875"/>
              <a:gd name="connsiteY278" fmla="*/ 424941 h 6858000"/>
              <a:gd name="connsiteX279" fmla="*/ 1222812 w 12207875"/>
              <a:gd name="connsiteY279" fmla="*/ 424941 h 6858000"/>
              <a:gd name="connsiteX280" fmla="*/ 1222812 w 12207875"/>
              <a:gd name="connsiteY280" fmla="*/ 395876 h 6858000"/>
              <a:gd name="connsiteX281" fmla="*/ 1224308 w 12207875"/>
              <a:gd name="connsiteY281" fmla="*/ 390338 h 6858000"/>
              <a:gd name="connsiteX282" fmla="*/ 1228383 w 12207875"/>
              <a:gd name="connsiteY282" fmla="*/ 386536 h 6858000"/>
              <a:gd name="connsiteX283" fmla="*/ 1234259 w 12207875"/>
              <a:gd name="connsiteY283" fmla="*/ 385159 h 6858000"/>
              <a:gd name="connsiteX284" fmla="*/ 1237114 w 12207875"/>
              <a:gd name="connsiteY284" fmla="*/ 385351 h 6858000"/>
              <a:gd name="connsiteX285" fmla="*/ 1239109 w 12207875"/>
              <a:gd name="connsiteY285" fmla="*/ 385710 h 6858000"/>
              <a:gd name="connsiteX286" fmla="*/ 1239109 w 12207875"/>
              <a:gd name="connsiteY286" fmla="*/ 376838 h 6858000"/>
              <a:gd name="connsiteX287" fmla="*/ 1237224 w 12207875"/>
              <a:gd name="connsiteY287" fmla="*/ 376673 h 6858000"/>
              <a:gd name="connsiteX288" fmla="*/ 1235146 w 12207875"/>
              <a:gd name="connsiteY288" fmla="*/ 376618 h 6858000"/>
              <a:gd name="connsiteX289" fmla="*/ 1481194 w 12207875"/>
              <a:gd name="connsiteY289" fmla="*/ 365956 h 6858000"/>
              <a:gd name="connsiteX290" fmla="*/ 1481194 w 12207875"/>
              <a:gd name="connsiteY290" fmla="*/ 377362 h 6858000"/>
              <a:gd name="connsiteX291" fmla="*/ 1474181 w 12207875"/>
              <a:gd name="connsiteY291" fmla="*/ 377362 h 6858000"/>
              <a:gd name="connsiteX292" fmla="*/ 1474181 w 12207875"/>
              <a:gd name="connsiteY292" fmla="*/ 384800 h 6858000"/>
              <a:gd name="connsiteX293" fmla="*/ 1481194 w 12207875"/>
              <a:gd name="connsiteY293" fmla="*/ 384800 h 6858000"/>
              <a:gd name="connsiteX294" fmla="*/ 1481194 w 12207875"/>
              <a:gd name="connsiteY294" fmla="*/ 412929 h 6858000"/>
              <a:gd name="connsiteX295" fmla="*/ 1483161 w 12207875"/>
              <a:gd name="connsiteY295" fmla="*/ 420092 h 6858000"/>
              <a:gd name="connsiteX296" fmla="*/ 1488317 w 12207875"/>
              <a:gd name="connsiteY296" fmla="*/ 424307 h 6858000"/>
              <a:gd name="connsiteX297" fmla="*/ 1495191 w 12207875"/>
              <a:gd name="connsiteY297" fmla="*/ 425602 h 6858000"/>
              <a:gd name="connsiteX298" fmla="*/ 1498933 w 12207875"/>
              <a:gd name="connsiteY298" fmla="*/ 425243 h 6858000"/>
              <a:gd name="connsiteX299" fmla="*/ 1501233 w 12207875"/>
              <a:gd name="connsiteY299" fmla="*/ 424610 h 6858000"/>
              <a:gd name="connsiteX300" fmla="*/ 1499542 w 12207875"/>
              <a:gd name="connsiteY300" fmla="*/ 416951 h 6858000"/>
              <a:gd name="connsiteX301" fmla="*/ 1498240 w 12207875"/>
              <a:gd name="connsiteY301" fmla="*/ 417171 h 6858000"/>
              <a:gd name="connsiteX302" fmla="*/ 1496272 w 12207875"/>
              <a:gd name="connsiteY302" fmla="*/ 417337 h 6858000"/>
              <a:gd name="connsiteX303" fmla="*/ 1493445 w 12207875"/>
              <a:gd name="connsiteY303" fmla="*/ 416868 h 6858000"/>
              <a:gd name="connsiteX304" fmla="*/ 1491338 w 12207875"/>
              <a:gd name="connsiteY304" fmla="*/ 415050 h 6858000"/>
              <a:gd name="connsiteX305" fmla="*/ 1490534 w 12207875"/>
              <a:gd name="connsiteY305" fmla="*/ 411000 h 6858000"/>
              <a:gd name="connsiteX306" fmla="*/ 1490534 w 12207875"/>
              <a:gd name="connsiteY306" fmla="*/ 384800 h 6858000"/>
              <a:gd name="connsiteX307" fmla="*/ 1500346 w 12207875"/>
              <a:gd name="connsiteY307" fmla="*/ 384800 h 6858000"/>
              <a:gd name="connsiteX308" fmla="*/ 1500346 w 12207875"/>
              <a:gd name="connsiteY308" fmla="*/ 377362 h 6858000"/>
              <a:gd name="connsiteX309" fmla="*/ 1490534 w 12207875"/>
              <a:gd name="connsiteY309" fmla="*/ 377362 h 6858000"/>
              <a:gd name="connsiteX310" fmla="*/ 1490534 w 12207875"/>
              <a:gd name="connsiteY310" fmla="*/ 365956 h 6858000"/>
              <a:gd name="connsiteX311" fmla="*/ 1449264 w 12207875"/>
              <a:gd name="connsiteY311" fmla="*/ 365956 h 6858000"/>
              <a:gd name="connsiteX312" fmla="*/ 1449264 w 12207875"/>
              <a:gd name="connsiteY312" fmla="*/ 377362 h 6858000"/>
              <a:gd name="connsiteX313" fmla="*/ 1442251 w 12207875"/>
              <a:gd name="connsiteY313" fmla="*/ 377362 h 6858000"/>
              <a:gd name="connsiteX314" fmla="*/ 1442251 w 12207875"/>
              <a:gd name="connsiteY314" fmla="*/ 384800 h 6858000"/>
              <a:gd name="connsiteX315" fmla="*/ 1449264 w 12207875"/>
              <a:gd name="connsiteY315" fmla="*/ 384800 h 6858000"/>
              <a:gd name="connsiteX316" fmla="*/ 1449264 w 12207875"/>
              <a:gd name="connsiteY316" fmla="*/ 412929 h 6858000"/>
              <a:gd name="connsiteX317" fmla="*/ 1451232 w 12207875"/>
              <a:gd name="connsiteY317" fmla="*/ 420092 h 6858000"/>
              <a:gd name="connsiteX318" fmla="*/ 1456387 w 12207875"/>
              <a:gd name="connsiteY318" fmla="*/ 424307 h 6858000"/>
              <a:gd name="connsiteX319" fmla="*/ 1463261 w 12207875"/>
              <a:gd name="connsiteY319" fmla="*/ 425602 h 6858000"/>
              <a:gd name="connsiteX320" fmla="*/ 1467003 w 12207875"/>
              <a:gd name="connsiteY320" fmla="*/ 425243 h 6858000"/>
              <a:gd name="connsiteX321" fmla="*/ 1469303 w 12207875"/>
              <a:gd name="connsiteY321" fmla="*/ 424610 h 6858000"/>
              <a:gd name="connsiteX322" fmla="*/ 1467612 w 12207875"/>
              <a:gd name="connsiteY322" fmla="*/ 416951 h 6858000"/>
              <a:gd name="connsiteX323" fmla="*/ 1466310 w 12207875"/>
              <a:gd name="connsiteY323" fmla="*/ 417171 h 6858000"/>
              <a:gd name="connsiteX324" fmla="*/ 1464342 w 12207875"/>
              <a:gd name="connsiteY324" fmla="*/ 417337 h 6858000"/>
              <a:gd name="connsiteX325" fmla="*/ 1461515 w 12207875"/>
              <a:gd name="connsiteY325" fmla="*/ 416868 h 6858000"/>
              <a:gd name="connsiteX326" fmla="*/ 1459408 w 12207875"/>
              <a:gd name="connsiteY326" fmla="*/ 415050 h 6858000"/>
              <a:gd name="connsiteX327" fmla="*/ 1458604 w 12207875"/>
              <a:gd name="connsiteY327" fmla="*/ 411000 h 6858000"/>
              <a:gd name="connsiteX328" fmla="*/ 1458604 w 12207875"/>
              <a:gd name="connsiteY328" fmla="*/ 384800 h 6858000"/>
              <a:gd name="connsiteX329" fmla="*/ 1468416 w 12207875"/>
              <a:gd name="connsiteY329" fmla="*/ 384800 h 6858000"/>
              <a:gd name="connsiteX330" fmla="*/ 1468416 w 12207875"/>
              <a:gd name="connsiteY330" fmla="*/ 377362 h 6858000"/>
              <a:gd name="connsiteX331" fmla="*/ 1458604 w 12207875"/>
              <a:gd name="connsiteY331" fmla="*/ 377362 h 6858000"/>
              <a:gd name="connsiteX332" fmla="*/ 1458604 w 12207875"/>
              <a:gd name="connsiteY332" fmla="*/ 365956 h 6858000"/>
              <a:gd name="connsiteX333" fmla="*/ 1341692 w 12207875"/>
              <a:gd name="connsiteY333" fmla="*/ 361466 h 6858000"/>
              <a:gd name="connsiteX334" fmla="*/ 1341692 w 12207875"/>
              <a:gd name="connsiteY334" fmla="*/ 424941 h 6858000"/>
              <a:gd name="connsiteX335" fmla="*/ 1350783 w 12207875"/>
              <a:gd name="connsiteY335" fmla="*/ 424941 h 6858000"/>
              <a:gd name="connsiteX336" fmla="*/ 1350783 w 12207875"/>
              <a:gd name="connsiteY336" fmla="*/ 417530 h 6858000"/>
              <a:gd name="connsiteX337" fmla="*/ 1351560 w 12207875"/>
              <a:gd name="connsiteY337" fmla="*/ 417530 h 6858000"/>
              <a:gd name="connsiteX338" fmla="*/ 1353971 w 12207875"/>
              <a:gd name="connsiteY338" fmla="*/ 421002 h 6858000"/>
              <a:gd name="connsiteX339" fmla="*/ 1358295 w 12207875"/>
              <a:gd name="connsiteY339" fmla="*/ 424418 h 6858000"/>
              <a:gd name="connsiteX340" fmla="*/ 1365418 w 12207875"/>
              <a:gd name="connsiteY340" fmla="*/ 425878 h 6858000"/>
              <a:gd name="connsiteX341" fmla="*/ 1375757 w 12207875"/>
              <a:gd name="connsiteY341" fmla="*/ 422930 h 6858000"/>
              <a:gd name="connsiteX342" fmla="*/ 1382881 w 12207875"/>
              <a:gd name="connsiteY342" fmla="*/ 414472 h 6858000"/>
              <a:gd name="connsiteX343" fmla="*/ 1385458 w 12207875"/>
              <a:gd name="connsiteY343" fmla="*/ 401248 h 6858000"/>
              <a:gd name="connsiteX344" fmla="*/ 1382853 w 12207875"/>
              <a:gd name="connsiteY344" fmla="*/ 388052 h 6858000"/>
              <a:gd name="connsiteX345" fmla="*/ 1375674 w 12207875"/>
              <a:gd name="connsiteY345" fmla="*/ 379621 h 6858000"/>
              <a:gd name="connsiteX346" fmla="*/ 1365335 w 12207875"/>
              <a:gd name="connsiteY346" fmla="*/ 376701 h 6858000"/>
              <a:gd name="connsiteX347" fmla="*/ 1358156 w 12207875"/>
              <a:gd name="connsiteY347" fmla="*/ 378161 h 6858000"/>
              <a:gd name="connsiteX348" fmla="*/ 1353916 w 12207875"/>
              <a:gd name="connsiteY348" fmla="*/ 381578 h 6858000"/>
              <a:gd name="connsiteX349" fmla="*/ 1351560 w 12207875"/>
              <a:gd name="connsiteY349" fmla="*/ 385021 h 6858000"/>
              <a:gd name="connsiteX350" fmla="*/ 1351005 w 12207875"/>
              <a:gd name="connsiteY350" fmla="*/ 385021 h 6858000"/>
              <a:gd name="connsiteX351" fmla="*/ 1351005 w 12207875"/>
              <a:gd name="connsiteY351" fmla="*/ 361466 h 6858000"/>
              <a:gd name="connsiteX352" fmla="*/ 1146949 w 12207875"/>
              <a:gd name="connsiteY352" fmla="*/ 358490 h 6858000"/>
              <a:gd name="connsiteX353" fmla="*/ 1139909 w 12207875"/>
              <a:gd name="connsiteY353" fmla="*/ 359978 h 6858000"/>
              <a:gd name="connsiteX354" fmla="*/ 1134698 w 12207875"/>
              <a:gd name="connsiteY354" fmla="*/ 364413 h 6858000"/>
              <a:gd name="connsiteX355" fmla="*/ 1132730 w 12207875"/>
              <a:gd name="connsiteY355" fmla="*/ 371824 h 6858000"/>
              <a:gd name="connsiteX356" fmla="*/ 1132730 w 12207875"/>
              <a:gd name="connsiteY356" fmla="*/ 377334 h 6858000"/>
              <a:gd name="connsiteX357" fmla="*/ 1125302 w 12207875"/>
              <a:gd name="connsiteY357" fmla="*/ 377334 h 6858000"/>
              <a:gd name="connsiteX358" fmla="*/ 1125302 w 12207875"/>
              <a:gd name="connsiteY358" fmla="*/ 384773 h 6858000"/>
              <a:gd name="connsiteX359" fmla="*/ 1132730 w 12207875"/>
              <a:gd name="connsiteY359" fmla="*/ 384773 h 6858000"/>
              <a:gd name="connsiteX360" fmla="*/ 1132730 w 12207875"/>
              <a:gd name="connsiteY360" fmla="*/ 424968 h 6858000"/>
              <a:gd name="connsiteX361" fmla="*/ 1142043 w 12207875"/>
              <a:gd name="connsiteY361" fmla="*/ 424968 h 6858000"/>
              <a:gd name="connsiteX362" fmla="*/ 1142043 w 12207875"/>
              <a:gd name="connsiteY362" fmla="*/ 384773 h 6858000"/>
              <a:gd name="connsiteX363" fmla="*/ 1152382 w 12207875"/>
              <a:gd name="connsiteY363" fmla="*/ 384773 h 6858000"/>
              <a:gd name="connsiteX364" fmla="*/ 1152382 w 12207875"/>
              <a:gd name="connsiteY364" fmla="*/ 377334 h 6858000"/>
              <a:gd name="connsiteX365" fmla="*/ 1142043 w 12207875"/>
              <a:gd name="connsiteY365" fmla="*/ 377334 h 6858000"/>
              <a:gd name="connsiteX366" fmla="*/ 1142043 w 12207875"/>
              <a:gd name="connsiteY366" fmla="*/ 373064 h 6858000"/>
              <a:gd name="connsiteX367" fmla="*/ 1143485 w 12207875"/>
              <a:gd name="connsiteY367" fmla="*/ 368215 h 6858000"/>
              <a:gd name="connsiteX368" fmla="*/ 1148335 w 12207875"/>
              <a:gd name="connsiteY368" fmla="*/ 366535 h 6858000"/>
              <a:gd name="connsiteX369" fmla="*/ 1150830 w 12207875"/>
              <a:gd name="connsiteY369" fmla="*/ 366810 h 6858000"/>
              <a:gd name="connsiteX370" fmla="*/ 1152520 w 12207875"/>
              <a:gd name="connsiteY370" fmla="*/ 367251 h 6858000"/>
              <a:gd name="connsiteX371" fmla="*/ 1154710 w 12207875"/>
              <a:gd name="connsiteY371" fmla="*/ 359757 h 6858000"/>
              <a:gd name="connsiteX372" fmla="*/ 1151744 w 12207875"/>
              <a:gd name="connsiteY372" fmla="*/ 358931 h 6858000"/>
              <a:gd name="connsiteX373" fmla="*/ 1146949 w 12207875"/>
              <a:gd name="connsiteY373" fmla="*/ 358490 h 6858000"/>
              <a:gd name="connsiteX374" fmla="*/ 1594752 w 12207875"/>
              <a:gd name="connsiteY374" fmla="*/ 295704 h 6858000"/>
              <a:gd name="connsiteX375" fmla="*/ 1601626 w 12207875"/>
              <a:gd name="connsiteY375" fmla="*/ 297770 h 6858000"/>
              <a:gd name="connsiteX376" fmla="*/ 1605839 w 12207875"/>
              <a:gd name="connsiteY376" fmla="*/ 303501 h 6858000"/>
              <a:gd name="connsiteX377" fmla="*/ 1607280 w 12207875"/>
              <a:gd name="connsiteY377" fmla="*/ 311958 h 6858000"/>
              <a:gd name="connsiteX378" fmla="*/ 1605811 w 12207875"/>
              <a:gd name="connsiteY378" fmla="*/ 320361 h 6858000"/>
              <a:gd name="connsiteX379" fmla="*/ 1601570 w 12207875"/>
              <a:gd name="connsiteY379" fmla="*/ 325761 h 6858000"/>
              <a:gd name="connsiteX380" fmla="*/ 1594752 w 12207875"/>
              <a:gd name="connsiteY380" fmla="*/ 327634 h 6858000"/>
              <a:gd name="connsiteX381" fmla="*/ 1587795 w 12207875"/>
              <a:gd name="connsiteY381" fmla="*/ 325651 h 6858000"/>
              <a:gd name="connsiteX382" fmla="*/ 1583554 w 12207875"/>
              <a:gd name="connsiteY382" fmla="*/ 320141 h 6858000"/>
              <a:gd name="connsiteX383" fmla="*/ 1582112 w 12207875"/>
              <a:gd name="connsiteY383" fmla="*/ 311931 h 6858000"/>
              <a:gd name="connsiteX384" fmla="*/ 1583526 w 12207875"/>
              <a:gd name="connsiteY384" fmla="*/ 303693 h 6858000"/>
              <a:gd name="connsiteX385" fmla="*/ 1587739 w 12207875"/>
              <a:gd name="connsiteY385" fmla="*/ 297853 h 6858000"/>
              <a:gd name="connsiteX386" fmla="*/ 1594752 w 12207875"/>
              <a:gd name="connsiteY386" fmla="*/ 295704 h 6858000"/>
              <a:gd name="connsiteX387" fmla="*/ 1254992 w 12207875"/>
              <a:gd name="connsiteY387" fmla="*/ 295704 h 6858000"/>
              <a:gd name="connsiteX388" fmla="*/ 1261866 w 12207875"/>
              <a:gd name="connsiteY388" fmla="*/ 297770 h 6858000"/>
              <a:gd name="connsiteX389" fmla="*/ 1266079 w 12207875"/>
              <a:gd name="connsiteY389" fmla="*/ 303501 h 6858000"/>
              <a:gd name="connsiteX390" fmla="*/ 1267520 w 12207875"/>
              <a:gd name="connsiteY390" fmla="*/ 311958 h 6858000"/>
              <a:gd name="connsiteX391" fmla="*/ 1266051 w 12207875"/>
              <a:gd name="connsiteY391" fmla="*/ 320361 h 6858000"/>
              <a:gd name="connsiteX392" fmla="*/ 1261810 w 12207875"/>
              <a:gd name="connsiteY392" fmla="*/ 325761 h 6858000"/>
              <a:gd name="connsiteX393" fmla="*/ 1254992 w 12207875"/>
              <a:gd name="connsiteY393" fmla="*/ 327634 h 6858000"/>
              <a:gd name="connsiteX394" fmla="*/ 1248035 w 12207875"/>
              <a:gd name="connsiteY394" fmla="*/ 325651 h 6858000"/>
              <a:gd name="connsiteX395" fmla="*/ 1243794 w 12207875"/>
              <a:gd name="connsiteY395" fmla="*/ 320141 h 6858000"/>
              <a:gd name="connsiteX396" fmla="*/ 1242353 w 12207875"/>
              <a:gd name="connsiteY396" fmla="*/ 311931 h 6858000"/>
              <a:gd name="connsiteX397" fmla="*/ 1243766 w 12207875"/>
              <a:gd name="connsiteY397" fmla="*/ 303693 h 6858000"/>
              <a:gd name="connsiteX398" fmla="*/ 1247979 w 12207875"/>
              <a:gd name="connsiteY398" fmla="*/ 297853 h 6858000"/>
              <a:gd name="connsiteX399" fmla="*/ 1254992 w 12207875"/>
              <a:gd name="connsiteY399" fmla="*/ 295704 h 6858000"/>
              <a:gd name="connsiteX400" fmla="*/ 1435155 w 12207875"/>
              <a:gd name="connsiteY400" fmla="*/ 295456 h 6858000"/>
              <a:gd name="connsiteX401" fmla="*/ 1441474 w 12207875"/>
              <a:gd name="connsiteY401" fmla="*/ 297109 h 6858000"/>
              <a:gd name="connsiteX402" fmla="*/ 1445660 w 12207875"/>
              <a:gd name="connsiteY402" fmla="*/ 301599 h 6858000"/>
              <a:gd name="connsiteX403" fmla="*/ 1447156 w 12207875"/>
              <a:gd name="connsiteY403" fmla="*/ 308101 h 6858000"/>
              <a:gd name="connsiteX404" fmla="*/ 1422349 w 12207875"/>
              <a:gd name="connsiteY404" fmla="*/ 308101 h 6858000"/>
              <a:gd name="connsiteX405" fmla="*/ 1423818 w 12207875"/>
              <a:gd name="connsiteY405" fmla="*/ 302316 h 6858000"/>
              <a:gd name="connsiteX406" fmla="*/ 1428309 w 12207875"/>
              <a:gd name="connsiteY406" fmla="*/ 297357 h 6858000"/>
              <a:gd name="connsiteX407" fmla="*/ 1435155 w 12207875"/>
              <a:gd name="connsiteY407" fmla="*/ 295456 h 6858000"/>
              <a:gd name="connsiteX408" fmla="*/ 1383573 w 12207875"/>
              <a:gd name="connsiteY408" fmla="*/ 295456 h 6858000"/>
              <a:gd name="connsiteX409" fmla="*/ 1389893 w 12207875"/>
              <a:gd name="connsiteY409" fmla="*/ 297109 h 6858000"/>
              <a:gd name="connsiteX410" fmla="*/ 1394078 w 12207875"/>
              <a:gd name="connsiteY410" fmla="*/ 301599 h 6858000"/>
              <a:gd name="connsiteX411" fmla="*/ 1395575 w 12207875"/>
              <a:gd name="connsiteY411" fmla="*/ 308101 h 6858000"/>
              <a:gd name="connsiteX412" fmla="*/ 1370768 w 12207875"/>
              <a:gd name="connsiteY412" fmla="*/ 308101 h 6858000"/>
              <a:gd name="connsiteX413" fmla="*/ 1372237 w 12207875"/>
              <a:gd name="connsiteY413" fmla="*/ 302316 h 6858000"/>
              <a:gd name="connsiteX414" fmla="*/ 1376727 w 12207875"/>
              <a:gd name="connsiteY414" fmla="*/ 297357 h 6858000"/>
              <a:gd name="connsiteX415" fmla="*/ 1383573 w 12207875"/>
              <a:gd name="connsiteY415" fmla="*/ 295456 h 6858000"/>
              <a:gd name="connsiteX416" fmla="*/ 1500429 w 12207875"/>
              <a:gd name="connsiteY416" fmla="*/ 288403 h 6858000"/>
              <a:gd name="connsiteX417" fmla="*/ 1500429 w 12207875"/>
              <a:gd name="connsiteY417" fmla="*/ 336009 h 6858000"/>
              <a:gd name="connsiteX418" fmla="*/ 1509770 w 12207875"/>
              <a:gd name="connsiteY418" fmla="*/ 336009 h 6858000"/>
              <a:gd name="connsiteX419" fmla="*/ 1509770 w 12207875"/>
              <a:gd name="connsiteY419" fmla="*/ 288403 h 6858000"/>
              <a:gd name="connsiteX420" fmla="*/ 1289195 w 12207875"/>
              <a:gd name="connsiteY420" fmla="*/ 288403 h 6858000"/>
              <a:gd name="connsiteX421" fmla="*/ 1289195 w 12207875"/>
              <a:gd name="connsiteY421" fmla="*/ 336009 h 6858000"/>
              <a:gd name="connsiteX422" fmla="*/ 1298536 w 12207875"/>
              <a:gd name="connsiteY422" fmla="*/ 336009 h 6858000"/>
              <a:gd name="connsiteX423" fmla="*/ 1298536 w 12207875"/>
              <a:gd name="connsiteY423" fmla="*/ 288403 h 6858000"/>
              <a:gd name="connsiteX424" fmla="*/ 1435099 w 12207875"/>
              <a:gd name="connsiteY424" fmla="*/ 287852 h 6858000"/>
              <a:gd name="connsiteX425" fmla="*/ 1423458 w 12207875"/>
              <a:gd name="connsiteY425" fmla="*/ 290993 h 6858000"/>
              <a:gd name="connsiteX426" fmla="*/ 1415725 w 12207875"/>
              <a:gd name="connsiteY426" fmla="*/ 299699 h 6858000"/>
              <a:gd name="connsiteX427" fmla="*/ 1412953 w 12207875"/>
              <a:gd name="connsiteY427" fmla="*/ 312592 h 6858000"/>
              <a:gd name="connsiteX428" fmla="*/ 1415725 w 12207875"/>
              <a:gd name="connsiteY428" fmla="*/ 325513 h 6858000"/>
              <a:gd name="connsiteX429" fmla="*/ 1423569 w 12207875"/>
              <a:gd name="connsiteY429" fmla="*/ 333971 h 6858000"/>
              <a:gd name="connsiteX430" fmla="*/ 1435765 w 12207875"/>
              <a:gd name="connsiteY430" fmla="*/ 337001 h 6858000"/>
              <a:gd name="connsiteX431" fmla="*/ 1445105 w 12207875"/>
              <a:gd name="connsiteY431" fmla="*/ 335403 h 6858000"/>
              <a:gd name="connsiteX432" fmla="*/ 1451924 w 12207875"/>
              <a:gd name="connsiteY432" fmla="*/ 330913 h 6858000"/>
              <a:gd name="connsiteX433" fmla="*/ 1455721 w 12207875"/>
              <a:gd name="connsiteY433" fmla="*/ 324135 h 6858000"/>
              <a:gd name="connsiteX434" fmla="*/ 1446907 w 12207875"/>
              <a:gd name="connsiteY434" fmla="*/ 322565 h 6858000"/>
              <a:gd name="connsiteX435" fmla="*/ 1444468 w 12207875"/>
              <a:gd name="connsiteY435" fmla="*/ 326312 h 6858000"/>
              <a:gd name="connsiteX436" fmla="*/ 1440698 w 12207875"/>
              <a:gd name="connsiteY436" fmla="*/ 328598 h 6858000"/>
              <a:gd name="connsiteX437" fmla="*/ 1435875 w 12207875"/>
              <a:gd name="connsiteY437" fmla="*/ 329370 h 6858000"/>
              <a:gd name="connsiteX438" fmla="*/ 1428724 w 12207875"/>
              <a:gd name="connsiteY438" fmla="*/ 327607 h 6858000"/>
              <a:gd name="connsiteX439" fmla="*/ 1423985 w 12207875"/>
              <a:gd name="connsiteY439" fmla="*/ 322510 h 6858000"/>
              <a:gd name="connsiteX440" fmla="*/ 1422349 w 12207875"/>
              <a:gd name="connsiteY440" fmla="*/ 315044 h 6858000"/>
              <a:gd name="connsiteX441" fmla="*/ 1456303 w 12207875"/>
              <a:gd name="connsiteY441" fmla="*/ 315044 h 6858000"/>
              <a:gd name="connsiteX442" fmla="*/ 1456303 w 12207875"/>
              <a:gd name="connsiteY442" fmla="*/ 311765 h 6858000"/>
              <a:gd name="connsiteX443" fmla="*/ 1454557 w 12207875"/>
              <a:gd name="connsiteY443" fmla="*/ 300745 h 6858000"/>
              <a:gd name="connsiteX444" fmla="*/ 1449789 w 12207875"/>
              <a:gd name="connsiteY444" fmla="*/ 293362 h 6858000"/>
              <a:gd name="connsiteX445" fmla="*/ 1442971 w 12207875"/>
              <a:gd name="connsiteY445" fmla="*/ 289174 h 6858000"/>
              <a:gd name="connsiteX446" fmla="*/ 1435099 w 12207875"/>
              <a:gd name="connsiteY446" fmla="*/ 287852 h 6858000"/>
              <a:gd name="connsiteX447" fmla="*/ 1383545 w 12207875"/>
              <a:gd name="connsiteY447" fmla="*/ 287852 h 6858000"/>
              <a:gd name="connsiteX448" fmla="*/ 1371904 w 12207875"/>
              <a:gd name="connsiteY448" fmla="*/ 290993 h 6858000"/>
              <a:gd name="connsiteX449" fmla="*/ 1364171 w 12207875"/>
              <a:gd name="connsiteY449" fmla="*/ 299699 h 6858000"/>
              <a:gd name="connsiteX450" fmla="*/ 1361399 w 12207875"/>
              <a:gd name="connsiteY450" fmla="*/ 312592 h 6858000"/>
              <a:gd name="connsiteX451" fmla="*/ 1364171 w 12207875"/>
              <a:gd name="connsiteY451" fmla="*/ 325513 h 6858000"/>
              <a:gd name="connsiteX452" fmla="*/ 1371987 w 12207875"/>
              <a:gd name="connsiteY452" fmla="*/ 333971 h 6858000"/>
              <a:gd name="connsiteX453" fmla="*/ 1384183 w 12207875"/>
              <a:gd name="connsiteY453" fmla="*/ 337001 h 6858000"/>
              <a:gd name="connsiteX454" fmla="*/ 1393524 w 12207875"/>
              <a:gd name="connsiteY454" fmla="*/ 335403 h 6858000"/>
              <a:gd name="connsiteX455" fmla="*/ 1400342 w 12207875"/>
              <a:gd name="connsiteY455" fmla="*/ 330913 h 6858000"/>
              <a:gd name="connsiteX456" fmla="*/ 1404139 w 12207875"/>
              <a:gd name="connsiteY456" fmla="*/ 324135 h 6858000"/>
              <a:gd name="connsiteX457" fmla="*/ 1395325 w 12207875"/>
              <a:gd name="connsiteY457" fmla="*/ 322565 h 6858000"/>
              <a:gd name="connsiteX458" fmla="*/ 1392886 w 12207875"/>
              <a:gd name="connsiteY458" fmla="*/ 326312 h 6858000"/>
              <a:gd name="connsiteX459" fmla="*/ 1389116 w 12207875"/>
              <a:gd name="connsiteY459" fmla="*/ 328598 h 6858000"/>
              <a:gd name="connsiteX460" fmla="*/ 1384294 w 12207875"/>
              <a:gd name="connsiteY460" fmla="*/ 329370 h 6858000"/>
              <a:gd name="connsiteX461" fmla="*/ 1377143 w 12207875"/>
              <a:gd name="connsiteY461" fmla="*/ 327607 h 6858000"/>
              <a:gd name="connsiteX462" fmla="*/ 1372403 w 12207875"/>
              <a:gd name="connsiteY462" fmla="*/ 322510 h 6858000"/>
              <a:gd name="connsiteX463" fmla="*/ 1370768 w 12207875"/>
              <a:gd name="connsiteY463" fmla="*/ 315044 h 6858000"/>
              <a:gd name="connsiteX464" fmla="*/ 1404749 w 12207875"/>
              <a:gd name="connsiteY464" fmla="*/ 315044 h 6858000"/>
              <a:gd name="connsiteX465" fmla="*/ 1404749 w 12207875"/>
              <a:gd name="connsiteY465" fmla="*/ 311765 h 6858000"/>
              <a:gd name="connsiteX466" fmla="*/ 1403003 w 12207875"/>
              <a:gd name="connsiteY466" fmla="*/ 300745 h 6858000"/>
              <a:gd name="connsiteX467" fmla="*/ 1398235 w 12207875"/>
              <a:gd name="connsiteY467" fmla="*/ 293362 h 6858000"/>
              <a:gd name="connsiteX468" fmla="*/ 1391417 w 12207875"/>
              <a:gd name="connsiteY468" fmla="*/ 289174 h 6858000"/>
              <a:gd name="connsiteX469" fmla="*/ 1383545 w 12207875"/>
              <a:gd name="connsiteY469" fmla="*/ 287852 h 6858000"/>
              <a:gd name="connsiteX470" fmla="*/ 1592728 w 12207875"/>
              <a:gd name="connsiteY470" fmla="*/ 287797 h 6858000"/>
              <a:gd name="connsiteX471" fmla="*/ 1582390 w 12207875"/>
              <a:gd name="connsiteY471" fmla="*/ 290690 h 6858000"/>
              <a:gd name="connsiteX472" fmla="*/ 1575239 w 12207875"/>
              <a:gd name="connsiteY472" fmla="*/ 299010 h 6858000"/>
              <a:gd name="connsiteX473" fmla="*/ 1572633 w 12207875"/>
              <a:gd name="connsiteY473" fmla="*/ 312041 h 6858000"/>
              <a:gd name="connsiteX474" fmla="*/ 1575266 w 12207875"/>
              <a:gd name="connsiteY474" fmla="*/ 324824 h 6858000"/>
              <a:gd name="connsiteX475" fmla="*/ 1582445 w 12207875"/>
              <a:gd name="connsiteY475" fmla="*/ 332676 h 6858000"/>
              <a:gd name="connsiteX476" fmla="*/ 1592645 w 12207875"/>
              <a:gd name="connsiteY476" fmla="*/ 335321 h 6858000"/>
              <a:gd name="connsiteX477" fmla="*/ 1599796 w 12207875"/>
              <a:gd name="connsiteY477" fmla="*/ 333943 h 6858000"/>
              <a:gd name="connsiteX478" fmla="*/ 1604120 w 12207875"/>
              <a:gd name="connsiteY478" fmla="*/ 330720 h 6858000"/>
              <a:gd name="connsiteX479" fmla="*/ 1606532 w 12207875"/>
              <a:gd name="connsiteY479" fmla="*/ 327331 h 6858000"/>
              <a:gd name="connsiteX480" fmla="*/ 1607114 w 12207875"/>
              <a:gd name="connsiteY480" fmla="*/ 327331 h 6858000"/>
              <a:gd name="connsiteX481" fmla="*/ 1607114 w 12207875"/>
              <a:gd name="connsiteY481" fmla="*/ 336698 h 6858000"/>
              <a:gd name="connsiteX482" fmla="*/ 1603649 w 12207875"/>
              <a:gd name="connsiteY482" fmla="*/ 344770 h 6858000"/>
              <a:gd name="connsiteX483" fmla="*/ 1594890 w 12207875"/>
              <a:gd name="connsiteY483" fmla="*/ 347305 h 6858000"/>
              <a:gd name="connsiteX484" fmla="*/ 1588571 w 12207875"/>
              <a:gd name="connsiteY484" fmla="*/ 346231 h 6858000"/>
              <a:gd name="connsiteX485" fmla="*/ 1584718 w 12207875"/>
              <a:gd name="connsiteY485" fmla="*/ 343613 h 6858000"/>
              <a:gd name="connsiteX486" fmla="*/ 1582445 w 12207875"/>
              <a:gd name="connsiteY486" fmla="*/ 340803 h 6858000"/>
              <a:gd name="connsiteX487" fmla="*/ 1574435 w 12207875"/>
              <a:gd name="connsiteY487" fmla="*/ 344082 h 6858000"/>
              <a:gd name="connsiteX488" fmla="*/ 1578287 w 12207875"/>
              <a:gd name="connsiteY488" fmla="*/ 349371 h 6858000"/>
              <a:gd name="connsiteX489" fmla="*/ 1584967 w 12207875"/>
              <a:gd name="connsiteY489" fmla="*/ 353283 h 6858000"/>
              <a:gd name="connsiteX490" fmla="*/ 1594779 w 12207875"/>
              <a:gd name="connsiteY490" fmla="*/ 354771 h 6858000"/>
              <a:gd name="connsiteX491" fmla="*/ 1605756 w 12207875"/>
              <a:gd name="connsiteY491" fmla="*/ 352870 h 6858000"/>
              <a:gd name="connsiteX492" fmla="*/ 1613517 w 12207875"/>
              <a:gd name="connsiteY492" fmla="*/ 347057 h 6858000"/>
              <a:gd name="connsiteX493" fmla="*/ 1616399 w 12207875"/>
              <a:gd name="connsiteY493" fmla="*/ 337056 h 6858000"/>
              <a:gd name="connsiteX494" fmla="*/ 1616399 w 12207875"/>
              <a:gd name="connsiteY494" fmla="*/ 288403 h 6858000"/>
              <a:gd name="connsiteX495" fmla="*/ 1607308 w 12207875"/>
              <a:gd name="connsiteY495" fmla="*/ 288403 h 6858000"/>
              <a:gd name="connsiteX496" fmla="*/ 1607308 w 12207875"/>
              <a:gd name="connsiteY496" fmla="*/ 296117 h 6858000"/>
              <a:gd name="connsiteX497" fmla="*/ 1606615 w 12207875"/>
              <a:gd name="connsiteY497" fmla="*/ 296117 h 6858000"/>
              <a:gd name="connsiteX498" fmla="*/ 1604231 w 12207875"/>
              <a:gd name="connsiteY498" fmla="*/ 292673 h 6858000"/>
              <a:gd name="connsiteX499" fmla="*/ 1599935 w 12207875"/>
              <a:gd name="connsiteY499" fmla="*/ 289257 h 6858000"/>
              <a:gd name="connsiteX500" fmla="*/ 1592728 w 12207875"/>
              <a:gd name="connsiteY500" fmla="*/ 287797 h 6858000"/>
              <a:gd name="connsiteX501" fmla="*/ 1252996 w 12207875"/>
              <a:gd name="connsiteY501" fmla="*/ 287797 h 6858000"/>
              <a:gd name="connsiteX502" fmla="*/ 1242658 w 12207875"/>
              <a:gd name="connsiteY502" fmla="*/ 290690 h 6858000"/>
              <a:gd name="connsiteX503" fmla="*/ 1235506 w 12207875"/>
              <a:gd name="connsiteY503" fmla="*/ 299010 h 6858000"/>
              <a:gd name="connsiteX504" fmla="*/ 1232901 w 12207875"/>
              <a:gd name="connsiteY504" fmla="*/ 312041 h 6858000"/>
              <a:gd name="connsiteX505" fmla="*/ 1235534 w 12207875"/>
              <a:gd name="connsiteY505" fmla="*/ 324824 h 6858000"/>
              <a:gd name="connsiteX506" fmla="*/ 1242713 w 12207875"/>
              <a:gd name="connsiteY506" fmla="*/ 332676 h 6858000"/>
              <a:gd name="connsiteX507" fmla="*/ 1252913 w 12207875"/>
              <a:gd name="connsiteY507" fmla="*/ 335321 h 6858000"/>
              <a:gd name="connsiteX508" fmla="*/ 1260064 w 12207875"/>
              <a:gd name="connsiteY508" fmla="*/ 333943 h 6858000"/>
              <a:gd name="connsiteX509" fmla="*/ 1264388 w 12207875"/>
              <a:gd name="connsiteY509" fmla="*/ 330720 h 6858000"/>
              <a:gd name="connsiteX510" fmla="*/ 1266799 w 12207875"/>
              <a:gd name="connsiteY510" fmla="*/ 327331 h 6858000"/>
              <a:gd name="connsiteX511" fmla="*/ 1267381 w 12207875"/>
              <a:gd name="connsiteY511" fmla="*/ 327331 h 6858000"/>
              <a:gd name="connsiteX512" fmla="*/ 1267381 w 12207875"/>
              <a:gd name="connsiteY512" fmla="*/ 336698 h 6858000"/>
              <a:gd name="connsiteX513" fmla="*/ 1263917 w 12207875"/>
              <a:gd name="connsiteY513" fmla="*/ 344770 h 6858000"/>
              <a:gd name="connsiteX514" fmla="*/ 1255158 w 12207875"/>
              <a:gd name="connsiteY514" fmla="*/ 347305 h 6858000"/>
              <a:gd name="connsiteX515" fmla="*/ 1248839 w 12207875"/>
              <a:gd name="connsiteY515" fmla="*/ 346231 h 6858000"/>
              <a:gd name="connsiteX516" fmla="*/ 1244986 w 12207875"/>
              <a:gd name="connsiteY516" fmla="*/ 343613 h 6858000"/>
              <a:gd name="connsiteX517" fmla="*/ 1242713 w 12207875"/>
              <a:gd name="connsiteY517" fmla="*/ 340803 h 6858000"/>
              <a:gd name="connsiteX518" fmla="*/ 1234703 w 12207875"/>
              <a:gd name="connsiteY518" fmla="*/ 344082 h 6858000"/>
              <a:gd name="connsiteX519" fmla="*/ 1238555 w 12207875"/>
              <a:gd name="connsiteY519" fmla="*/ 349371 h 6858000"/>
              <a:gd name="connsiteX520" fmla="*/ 1245235 w 12207875"/>
              <a:gd name="connsiteY520" fmla="*/ 353283 h 6858000"/>
              <a:gd name="connsiteX521" fmla="*/ 1255047 w 12207875"/>
              <a:gd name="connsiteY521" fmla="*/ 354771 h 6858000"/>
              <a:gd name="connsiteX522" fmla="*/ 1266079 w 12207875"/>
              <a:gd name="connsiteY522" fmla="*/ 352898 h 6858000"/>
              <a:gd name="connsiteX523" fmla="*/ 1273840 w 12207875"/>
              <a:gd name="connsiteY523" fmla="*/ 347085 h 6858000"/>
              <a:gd name="connsiteX524" fmla="*/ 1276722 w 12207875"/>
              <a:gd name="connsiteY524" fmla="*/ 337084 h 6858000"/>
              <a:gd name="connsiteX525" fmla="*/ 1276722 w 12207875"/>
              <a:gd name="connsiteY525" fmla="*/ 288403 h 6858000"/>
              <a:gd name="connsiteX526" fmla="*/ 1267576 w 12207875"/>
              <a:gd name="connsiteY526" fmla="*/ 288403 h 6858000"/>
              <a:gd name="connsiteX527" fmla="*/ 1267576 w 12207875"/>
              <a:gd name="connsiteY527" fmla="*/ 296117 h 6858000"/>
              <a:gd name="connsiteX528" fmla="*/ 1266882 w 12207875"/>
              <a:gd name="connsiteY528" fmla="*/ 296117 h 6858000"/>
              <a:gd name="connsiteX529" fmla="*/ 1264499 w 12207875"/>
              <a:gd name="connsiteY529" fmla="*/ 292673 h 6858000"/>
              <a:gd name="connsiteX530" fmla="*/ 1260203 w 12207875"/>
              <a:gd name="connsiteY530" fmla="*/ 289257 h 6858000"/>
              <a:gd name="connsiteX531" fmla="*/ 1252996 w 12207875"/>
              <a:gd name="connsiteY531" fmla="*/ 287797 h 6858000"/>
              <a:gd name="connsiteX532" fmla="*/ 1545997 w 12207875"/>
              <a:gd name="connsiteY532" fmla="*/ 287769 h 6858000"/>
              <a:gd name="connsiteX533" fmla="*/ 1537072 w 12207875"/>
              <a:gd name="connsiteY533" fmla="*/ 290056 h 6858000"/>
              <a:gd name="connsiteX534" fmla="*/ 1531889 w 12207875"/>
              <a:gd name="connsiteY534" fmla="*/ 296144 h 6858000"/>
              <a:gd name="connsiteX535" fmla="*/ 1531307 w 12207875"/>
              <a:gd name="connsiteY535" fmla="*/ 296144 h 6858000"/>
              <a:gd name="connsiteX536" fmla="*/ 1531307 w 12207875"/>
              <a:gd name="connsiteY536" fmla="*/ 288403 h 6858000"/>
              <a:gd name="connsiteX537" fmla="*/ 1522354 w 12207875"/>
              <a:gd name="connsiteY537" fmla="*/ 288403 h 6858000"/>
              <a:gd name="connsiteX538" fmla="*/ 1522354 w 12207875"/>
              <a:gd name="connsiteY538" fmla="*/ 336009 h 6858000"/>
              <a:gd name="connsiteX539" fmla="*/ 1531695 w 12207875"/>
              <a:gd name="connsiteY539" fmla="*/ 336009 h 6858000"/>
              <a:gd name="connsiteX540" fmla="*/ 1531695 w 12207875"/>
              <a:gd name="connsiteY540" fmla="*/ 307743 h 6858000"/>
              <a:gd name="connsiteX541" fmla="*/ 1533136 w 12207875"/>
              <a:gd name="connsiteY541" fmla="*/ 301268 h 6858000"/>
              <a:gd name="connsiteX542" fmla="*/ 1537100 w 12207875"/>
              <a:gd name="connsiteY542" fmla="*/ 297191 h 6858000"/>
              <a:gd name="connsiteX543" fmla="*/ 1542865 w 12207875"/>
              <a:gd name="connsiteY543" fmla="*/ 295786 h 6858000"/>
              <a:gd name="connsiteX544" fmla="*/ 1550321 w 12207875"/>
              <a:gd name="connsiteY544" fmla="*/ 298706 h 6858000"/>
              <a:gd name="connsiteX545" fmla="*/ 1553037 w 12207875"/>
              <a:gd name="connsiteY545" fmla="*/ 306806 h 6858000"/>
              <a:gd name="connsiteX546" fmla="*/ 1553037 w 12207875"/>
              <a:gd name="connsiteY546" fmla="*/ 335981 h 6858000"/>
              <a:gd name="connsiteX547" fmla="*/ 1562295 w 12207875"/>
              <a:gd name="connsiteY547" fmla="*/ 335981 h 6858000"/>
              <a:gd name="connsiteX548" fmla="*/ 1562295 w 12207875"/>
              <a:gd name="connsiteY548" fmla="*/ 305731 h 6858000"/>
              <a:gd name="connsiteX549" fmla="*/ 1560272 w 12207875"/>
              <a:gd name="connsiteY549" fmla="*/ 295841 h 6858000"/>
              <a:gd name="connsiteX550" fmla="*/ 1554562 w 12207875"/>
              <a:gd name="connsiteY550" fmla="*/ 289808 h 6858000"/>
              <a:gd name="connsiteX551" fmla="*/ 1545997 w 12207875"/>
              <a:gd name="connsiteY551" fmla="*/ 287769 h 6858000"/>
              <a:gd name="connsiteX552" fmla="*/ 1334790 w 12207875"/>
              <a:gd name="connsiteY552" fmla="*/ 287769 h 6858000"/>
              <a:gd name="connsiteX553" fmla="*/ 1325865 w 12207875"/>
              <a:gd name="connsiteY553" fmla="*/ 290056 h 6858000"/>
              <a:gd name="connsiteX554" fmla="*/ 1320682 w 12207875"/>
              <a:gd name="connsiteY554" fmla="*/ 296144 h 6858000"/>
              <a:gd name="connsiteX555" fmla="*/ 1320100 w 12207875"/>
              <a:gd name="connsiteY555" fmla="*/ 296144 h 6858000"/>
              <a:gd name="connsiteX556" fmla="*/ 1320100 w 12207875"/>
              <a:gd name="connsiteY556" fmla="*/ 288403 h 6858000"/>
              <a:gd name="connsiteX557" fmla="*/ 1311147 w 12207875"/>
              <a:gd name="connsiteY557" fmla="*/ 288403 h 6858000"/>
              <a:gd name="connsiteX558" fmla="*/ 1311147 w 12207875"/>
              <a:gd name="connsiteY558" fmla="*/ 336009 h 6858000"/>
              <a:gd name="connsiteX559" fmla="*/ 1320488 w 12207875"/>
              <a:gd name="connsiteY559" fmla="*/ 336009 h 6858000"/>
              <a:gd name="connsiteX560" fmla="*/ 1320488 w 12207875"/>
              <a:gd name="connsiteY560" fmla="*/ 307743 h 6858000"/>
              <a:gd name="connsiteX561" fmla="*/ 1320405 w 12207875"/>
              <a:gd name="connsiteY561" fmla="*/ 307743 h 6858000"/>
              <a:gd name="connsiteX562" fmla="*/ 1321846 w 12207875"/>
              <a:gd name="connsiteY562" fmla="*/ 301269 h 6858000"/>
              <a:gd name="connsiteX563" fmla="*/ 1325810 w 12207875"/>
              <a:gd name="connsiteY563" fmla="*/ 297191 h 6858000"/>
              <a:gd name="connsiteX564" fmla="*/ 1331575 w 12207875"/>
              <a:gd name="connsiteY564" fmla="*/ 295786 h 6858000"/>
              <a:gd name="connsiteX565" fmla="*/ 1339031 w 12207875"/>
              <a:gd name="connsiteY565" fmla="*/ 298706 h 6858000"/>
              <a:gd name="connsiteX566" fmla="*/ 1341747 w 12207875"/>
              <a:gd name="connsiteY566" fmla="*/ 306806 h 6858000"/>
              <a:gd name="connsiteX567" fmla="*/ 1341747 w 12207875"/>
              <a:gd name="connsiteY567" fmla="*/ 335982 h 6858000"/>
              <a:gd name="connsiteX568" fmla="*/ 1351088 w 12207875"/>
              <a:gd name="connsiteY568" fmla="*/ 335982 h 6858000"/>
              <a:gd name="connsiteX569" fmla="*/ 1351088 w 12207875"/>
              <a:gd name="connsiteY569" fmla="*/ 305732 h 6858000"/>
              <a:gd name="connsiteX570" fmla="*/ 1349065 w 12207875"/>
              <a:gd name="connsiteY570" fmla="*/ 295841 h 6858000"/>
              <a:gd name="connsiteX571" fmla="*/ 1343355 w 12207875"/>
              <a:gd name="connsiteY571" fmla="*/ 289808 h 6858000"/>
              <a:gd name="connsiteX572" fmla="*/ 1334790 w 12207875"/>
              <a:gd name="connsiteY572" fmla="*/ 287769 h 6858000"/>
              <a:gd name="connsiteX573" fmla="*/ 1206265 w 12207875"/>
              <a:gd name="connsiteY573" fmla="*/ 287769 h 6858000"/>
              <a:gd name="connsiteX574" fmla="*/ 1197340 w 12207875"/>
              <a:gd name="connsiteY574" fmla="*/ 290056 h 6858000"/>
              <a:gd name="connsiteX575" fmla="*/ 1192157 w 12207875"/>
              <a:gd name="connsiteY575" fmla="*/ 296144 h 6858000"/>
              <a:gd name="connsiteX576" fmla="*/ 1191575 w 12207875"/>
              <a:gd name="connsiteY576" fmla="*/ 296144 h 6858000"/>
              <a:gd name="connsiteX577" fmla="*/ 1191575 w 12207875"/>
              <a:gd name="connsiteY577" fmla="*/ 288403 h 6858000"/>
              <a:gd name="connsiteX578" fmla="*/ 1182622 w 12207875"/>
              <a:gd name="connsiteY578" fmla="*/ 288403 h 6858000"/>
              <a:gd name="connsiteX579" fmla="*/ 1182622 w 12207875"/>
              <a:gd name="connsiteY579" fmla="*/ 336009 h 6858000"/>
              <a:gd name="connsiteX580" fmla="*/ 1191963 w 12207875"/>
              <a:gd name="connsiteY580" fmla="*/ 336009 h 6858000"/>
              <a:gd name="connsiteX581" fmla="*/ 1191963 w 12207875"/>
              <a:gd name="connsiteY581" fmla="*/ 307743 h 6858000"/>
              <a:gd name="connsiteX582" fmla="*/ 1191880 w 12207875"/>
              <a:gd name="connsiteY582" fmla="*/ 307743 h 6858000"/>
              <a:gd name="connsiteX583" fmla="*/ 1193321 w 12207875"/>
              <a:gd name="connsiteY583" fmla="*/ 301269 h 6858000"/>
              <a:gd name="connsiteX584" fmla="*/ 1197285 w 12207875"/>
              <a:gd name="connsiteY584" fmla="*/ 297191 h 6858000"/>
              <a:gd name="connsiteX585" fmla="*/ 1203050 w 12207875"/>
              <a:gd name="connsiteY585" fmla="*/ 295786 h 6858000"/>
              <a:gd name="connsiteX586" fmla="*/ 1210506 w 12207875"/>
              <a:gd name="connsiteY586" fmla="*/ 298706 h 6858000"/>
              <a:gd name="connsiteX587" fmla="*/ 1213222 w 12207875"/>
              <a:gd name="connsiteY587" fmla="*/ 306806 h 6858000"/>
              <a:gd name="connsiteX588" fmla="*/ 1213222 w 12207875"/>
              <a:gd name="connsiteY588" fmla="*/ 335982 h 6858000"/>
              <a:gd name="connsiteX589" fmla="*/ 1222563 w 12207875"/>
              <a:gd name="connsiteY589" fmla="*/ 335982 h 6858000"/>
              <a:gd name="connsiteX590" fmla="*/ 1222563 w 12207875"/>
              <a:gd name="connsiteY590" fmla="*/ 305732 h 6858000"/>
              <a:gd name="connsiteX591" fmla="*/ 1220540 w 12207875"/>
              <a:gd name="connsiteY591" fmla="*/ 295841 h 6858000"/>
              <a:gd name="connsiteX592" fmla="*/ 1214830 w 12207875"/>
              <a:gd name="connsiteY592" fmla="*/ 289808 h 6858000"/>
              <a:gd name="connsiteX593" fmla="*/ 1206265 w 12207875"/>
              <a:gd name="connsiteY593" fmla="*/ 287769 h 6858000"/>
              <a:gd name="connsiteX594" fmla="*/ 1488372 w 12207875"/>
              <a:gd name="connsiteY594" fmla="*/ 287687 h 6858000"/>
              <a:gd name="connsiteX595" fmla="*/ 1480833 w 12207875"/>
              <a:gd name="connsiteY595" fmla="*/ 289891 h 6858000"/>
              <a:gd name="connsiteX596" fmla="*/ 1476204 w 12207875"/>
              <a:gd name="connsiteY596" fmla="*/ 295952 h 6858000"/>
              <a:gd name="connsiteX597" fmla="*/ 1475705 w 12207875"/>
              <a:gd name="connsiteY597" fmla="*/ 295952 h 6858000"/>
              <a:gd name="connsiteX598" fmla="*/ 1475705 w 12207875"/>
              <a:gd name="connsiteY598" fmla="*/ 288403 h 6858000"/>
              <a:gd name="connsiteX599" fmla="*/ 1466697 w 12207875"/>
              <a:gd name="connsiteY599" fmla="*/ 288403 h 6858000"/>
              <a:gd name="connsiteX600" fmla="*/ 1466697 w 12207875"/>
              <a:gd name="connsiteY600" fmla="*/ 336009 h 6858000"/>
              <a:gd name="connsiteX601" fmla="*/ 1476038 w 12207875"/>
              <a:gd name="connsiteY601" fmla="*/ 336009 h 6858000"/>
              <a:gd name="connsiteX602" fmla="*/ 1476038 w 12207875"/>
              <a:gd name="connsiteY602" fmla="*/ 306944 h 6858000"/>
              <a:gd name="connsiteX603" fmla="*/ 1477534 w 12207875"/>
              <a:gd name="connsiteY603" fmla="*/ 301407 h 6858000"/>
              <a:gd name="connsiteX604" fmla="*/ 1481609 w 12207875"/>
              <a:gd name="connsiteY604" fmla="*/ 297605 h 6858000"/>
              <a:gd name="connsiteX605" fmla="*/ 1487485 w 12207875"/>
              <a:gd name="connsiteY605" fmla="*/ 296227 h 6858000"/>
              <a:gd name="connsiteX606" fmla="*/ 1490340 w 12207875"/>
              <a:gd name="connsiteY606" fmla="*/ 296420 h 6858000"/>
              <a:gd name="connsiteX607" fmla="*/ 1492335 w 12207875"/>
              <a:gd name="connsiteY607" fmla="*/ 296778 h 6858000"/>
              <a:gd name="connsiteX608" fmla="*/ 1492335 w 12207875"/>
              <a:gd name="connsiteY608" fmla="*/ 287907 h 6858000"/>
              <a:gd name="connsiteX609" fmla="*/ 1490451 w 12207875"/>
              <a:gd name="connsiteY609" fmla="*/ 287742 h 6858000"/>
              <a:gd name="connsiteX610" fmla="*/ 1488372 w 12207875"/>
              <a:gd name="connsiteY610" fmla="*/ 287687 h 6858000"/>
              <a:gd name="connsiteX611" fmla="*/ 1130319 w 12207875"/>
              <a:gd name="connsiteY611" fmla="*/ 272535 h 6858000"/>
              <a:gd name="connsiteX612" fmla="*/ 1130319 w 12207875"/>
              <a:gd name="connsiteY612" fmla="*/ 336037 h 6858000"/>
              <a:gd name="connsiteX613" fmla="*/ 1170759 w 12207875"/>
              <a:gd name="connsiteY613" fmla="*/ 336037 h 6858000"/>
              <a:gd name="connsiteX614" fmla="*/ 1170759 w 12207875"/>
              <a:gd name="connsiteY614" fmla="*/ 327772 h 6858000"/>
              <a:gd name="connsiteX615" fmla="*/ 1139965 w 12207875"/>
              <a:gd name="connsiteY615" fmla="*/ 327772 h 6858000"/>
              <a:gd name="connsiteX616" fmla="*/ 1139965 w 12207875"/>
              <a:gd name="connsiteY616" fmla="*/ 308350 h 6858000"/>
              <a:gd name="connsiteX617" fmla="*/ 1168292 w 12207875"/>
              <a:gd name="connsiteY617" fmla="*/ 308350 h 6858000"/>
              <a:gd name="connsiteX618" fmla="*/ 1168292 w 12207875"/>
              <a:gd name="connsiteY618" fmla="*/ 300140 h 6858000"/>
              <a:gd name="connsiteX619" fmla="*/ 1139965 w 12207875"/>
              <a:gd name="connsiteY619" fmla="*/ 300140 h 6858000"/>
              <a:gd name="connsiteX620" fmla="*/ 1139965 w 12207875"/>
              <a:gd name="connsiteY620" fmla="*/ 280800 h 6858000"/>
              <a:gd name="connsiteX621" fmla="*/ 1170371 w 12207875"/>
              <a:gd name="connsiteY621" fmla="*/ 280800 h 6858000"/>
              <a:gd name="connsiteX622" fmla="*/ 1170371 w 12207875"/>
              <a:gd name="connsiteY622" fmla="*/ 272535 h 6858000"/>
              <a:gd name="connsiteX623" fmla="*/ 887431 w 12207875"/>
              <a:gd name="connsiteY623" fmla="*/ 272507 h 6858000"/>
              <a:gd name="connsiteX624" fmla="*/ 846964 w 12207875"/>
              <a:gd name="connsiteY624" fmla="*/ 352980 h 6858000"/>
              <a:gd name="connsiteX625" fmla="*/ 892005 w 12207875"/>
              <a:gd name="connsiteY625" fmla="*/ 352980 h 6858000"/>
              <a:gd name="connsiteX626" fmla="*/ 917948 w 12207875"/>
              <a:gd name="connsiteY626" fmla="*/ 301434 h 6858000"/>
              <a:gd name="connsiteX627" fmla="*/ 1024660 w 12207875"/>
              <a:gd name="connsiteY627" fmla="*/ 513871 h 6858000"/>
              <a:gd name="connsiteX628" fmla="*/ 1069673 w 12207875"/>
              <a:gd name="connsiteY628" fmla="*/ 513871 h 6858000"/>
              <a:gd name="connsiteX629" fmla="*/ 948133 w 12207875"/>
              <a:gd name="connsiteY629" fmla="*/ 272507 h 6858000"/>
              <a:gd name="connsiteX630" fmla="*/ 563637 w 12207875"/>
              <a:gd name="connsiteY630" fmla="*/ 272479 h 6858000"/>
              <a:gd name="connsiteX631" fmla="*/ 563637 w 12207875"/>
              <a:gd name="connsiteY631" fmla="*/ 352980 h 6858000"/>
              <a:gd name="connsiteX632" fmla="*/ 604132 w 12207875"/>
              <a:gd name="connsiteY632" fmla="*/ 352980 h 6858000"/>
              <a:gd name="connsiteX633" fmla="*/ 604132 w 12207875"/>
              <a:gd name="connsiteY633" fmla="*/ 312730 h 6858000"/>
              <a:gd name="connsiteX634" fmla="*/ 745796 w 12207875"/>
              <a:gd name="connsiteY634" fmla="*/ 312757 h 6858000"/>
              <a:gd name="connsiteX635" fmla="*/ 745796 w 12207875"/>
              <a:gd name="connsiteY635" fmla="*/ 272507 h 6858000"/>
              <a:gd name="connsiteX636" fmla="*/ 390736 w 12207875"/>
              <a:gd name="connsiteY636" fmla="*/ 272479 h 6858000"/>
              <a:gd name="connsiteX637" fmla="*/ 269999 w 12207875"/>
              <a:gd name="connsiteY637" fmla="*/ 393230 h 6858000"/>
              <a:gd name="connsiteX638" fmla="*/ 390736 w 12207875"/>
              <a:gd name="connsiteY638" fmla="*/ 513871 h 6858000"/>
              <a:gd name="connsiteX639" fmla="*/ 502964 w 12207875"/>
              <a:gd name="connsiteY639" fmla="*/ 513871 h 6858000"/>
              <a:gd name="connsiteX640" fmla="*/ 502964 w 12207875"/>
              <a:gd name="connsiteY640" fmla="*/ 413314 h 6858000"/>
              <a:gd name="connsiteX641" fmla="*/ 563665 w 12207875"/>
              <a:gd name="connsiteY641" fmla="*/ 413314 h 6858000"/>
              <a:gd name="connsiteX642" fmla="*/ 563665 w 12207875"/>
              <a:gd name="connsiteY642" fmla="*/ 513871 h 6858000"/>
              <a:gd name="connsiteX643" fmla="*/ 725562 w 12207875"/>
              <a:gd name="connsiteY643" fmla="*/ 513871 h 6858000"/>
              <a:gd name="connsiteX644" fmla="*/ 745795 w 12207875"/>
              <a:gd name="connsiteY644" fmla="*/ 473648 h 6858000"/>
              <a:gd name="connsiteX645" fmla="*/ 604132 w 12207875"/>
              <a:gd name="connsiteY645" fmla="*/ 473648 h 6858000"/>
              <a:gd name="connsiteX646" fmla="*/ 604132 w 12207875"/>
              <a:gd name="connsiteY646" fmla="*/ 413314 h 6858000"/>
              <a:gd name="connsiteX647" fmla="*/ 816364 w 12207875"/>
              <a:gd name="connsiteY647" fmla="*/ 413314 h 6858000"/>
              <a:gd name="connsiteX648" fmla="*/ 766029 w 12207875"/>
              <a:gd name="connsiteY648" fmla="*/ 513871 h 6858000"/>
              <a:gd name="connsiteX649" fmla="*/ 811042 w 12207875"/>
              <a:gd name="connsiteY649" fmla="*/ 513871 h 6858000"/>
              <a:gd name="connsiteX650" fmla="*/ 861626 w 12207875"/>
              <a:gd name="connsiteY650" fmla="*/ 413314 h 6858000"/>
              <a:gd name="connsiteX651" fmla="*/ 948132 w 12207875"/>
              <a:gd name="connsiteY651" fmla="*/ 413314 h 6858000"/>
              <a:gd name="connsiteX652" fmla="*/ 927898 w 12207875"/>
              <a:gd name="connsiteY652" fmla="*/ 373091 h 6858000"/>
              <a:gd name="connsiteX653" fmla="*/ 401768 w 12207875"/>
              <a:gd name="connsiteY653" fmla="*/ 373091 h 6858000"/>
              <a:gd name="connsiteX654" fmla="*/ 381534 w 12207875"/>
              <a:gd name="connsiteY654" fmla="*/ 413314 h 6858000"/>
              <a:gd name="connsiteX655" fmla="*/ 462469 w 12207875"/>
              <a:gd name="connsiteY655" fmla="*/ 413314 h 6858000"/>
              <a:gd name="connsiteX656" fmla="*/ 462469 w 12207875"/>
              <a:gd name="connsiteY656" fmla="*/ 473648 h 6858000"/>
              <a:gd name="connsiteX657" fmla="*/ 390736 w 12207875"/>
              <a:gd name="connsiteY657" fmla="*/ 473648 h 6858000"/>
              <a:gd name="connsiteX658" fmla="*/ 310273 w 12207875"/>
              <a:gd name="connsiteY658" fmla="*/ 393230 h 6858000"/>
              <a:gd name="connsiteX659" fmla="*/ 390736 w 12207875"/>
              <a:gd name="connsiteY659" fmla="*/ 312729 h 6858000"/>
              <a:gd name="connsiteX660" fmla="*/ 482647 w 12207875"/>
              <a:gd name="connsiteY660" fmla="*/ 312729 h 6858000"/>
              <a:gd name="connsiteX661" fmla="*/ 482647 w 12207875"/>
              <a:gd name="connsiteY661" fmla="*/ 272479 h 6858000"/>
              <a:gd name="connsiteX662" fmla="*/ 1505141 w 12207875"/>
              <a:gd name="connsiteY662" fmla="*/ 270000 h 6858000"/>
              <a:gd name="connsiteX663" fmla="*/ 1500983 w 12207875"/>
              <a:gd name="connsiteY663" fmla="*/ 271625 h 6858000"/>
              <a:gd name="connsiteX664" fmla="*/ 1499265 w 12207875"/>
              <a:gd name="connsiteY664" fmla="*/ 275538 h 6858000"/>
              <a:gd name="connsiteX665" fmla="*/ 1500983 w 12207875"/>
              <a:gd name="connsiteY665" fmla="*/ 279422 h 6858000"/>
              <a:gd name="connsiteX666" fmla="*/ 1505141 w 12207875"/>
              <a:gd name="connsiteY666" fmla="*/ 281075 h 6858000"/>
              <a:gd name="connsiteX667" fmla="*/ 1509299 w 12207875"/>
              <a:gd name="connsiteY667" fmla="*/ 279450 h 6858000"/>
              <a:gd name="connsiteX668" fmla="*/ 1511017 w 12207875"/>
              <a:gd name="connsiteY668" fmla="*/ 275565 h 6858000"/>
              <a:gd name="connsiteX669" fmla="*/ 1509299 w 12207875"/>
              <a:gd name="connsiteY669" fmla="*/ 271653 h 6858000"/>
              <a:gd name="connsiteX670" fmla="*/ 1505141 w 12207875"/>
              <a:gd name="connsiteY670" fmla="*/ 270000 h 6858000"/>
              <a:gd name="connsiteX671" fmla="*/ 1293907 w 12207875"/>
              <a:gd name="connsiteY671" fmla="*/ 270000 h 6858000"/>
              <a:gd name="connsiteX672" fmla="*/ 1289749 w 12207875"/>
              <a:gd name="connsiteY672" fmla="*/ 271625 h 6858000"/>
              <a:gd name="connsiteX673" fmla="*/ 1288031 w 12207875"/>
              <a:gd name="connsiteY673" fmla="*/ 275538 h 6858000"/>
              <a:gd name="connsiteX674" fmla="*/ 1289749 w 12207875"/>
              <a:gd name="connsiteY674" fmla="*/ 279422 h 6858000"/>
              <a:gd name="connsiteX675" fmla="*/ 1293907 w 12207875"/>
              <a:gd name="connsiteY675" fmla="*/ 281075 h 6858000"/>
              <a:gd name="connsiteX676" fmla="*/ 1298065 w 12207875"/>
              <a:gd name="connsiteY676" fmla="*/ 279450 h 6858000"/>
              <a:gd name="connsiteX677" fmla="*/ 1299783 w 12207875"/>
              <a:gd name="connsiteY677" fmla="*/ 275565 h 6858000"/>
              <a:gd name="connsiteX678" fmla="*/ 1298065 w 12207875"/>
              <a:gd name="connsiteY678" fmla="*/ 271653 h 6858000"/>
              <a:gd name="connsiteX679" fmla="*/ 1293907 w 12207875"/>
              <a:gd name="connsiteY679" fmla="*/ 270000 h 6858000"/>
              <a:gd name="connsiteX680" fmla="*/ 0 w 12207875"/>
              <a:gd name="connsiteY680" fmla="*/ 0 h 6858000"/>
              <a:gd name="connsiteX681" fmla="*/ 12207875 w 12207875"/>
              <a:gd name="connsiteY681" fmla="*/ 0 h 6858000"/>
              <a:gd name="connsiteX682" fmla="*/ 12207875 w 12207875"/>
              <a:gd name="connsiteY682" fmla="*/ 6858000 h 6858000"/>
              <a:gd name="connsiteX683" fmla="*/ 0 w 12207875"/>
              <a:gd name="connsiteY68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</a:cxnLst>
            <a:rect l="l" t="t" r="r" b="b"/>
            <a:pathLst>
              <a:path w="12207875" h="6858000">
                <a:moveTo>
                  <a:pt x="1370601" y="502108"/>
                </a:moveTo>
                <a:cubicBezTo>
                  <a:pt x="1368910" y="502108"/>
                  <a:pt x="1367441" y="502714"/>
                  <a:pt x="1366222" y="503926"/>
                </a:cubicBezTo>
                <a:cubicBezTo>
                  <a:pt x="1365002" y="505139"/>
                  <a:pt x="1364392" y="506599"/>
                  <a:pt x="1364392" y="508279"/>
                </a:cubicBezTo>
                <a:cubicBezTo>
                  <a:pt x="1364392" y="509987"/>
                  <a:pt x="1365002" y="511448"/>
                  <a:pt x="1366222" y="512660"/>
                </a:cubicBezTo>
                <a:cubicBezTo>
                  <a:pt x="1367441" y="513872"/>
                  <a:pt x="1368910" y="514478"/>
                  <a:pt x="1370601" y="514478"/>
                </a:cubicBezTo>
                <a:cubicBezTo>
                  <a:pt x="1371737" y="514478"/>
                  <a:pt x="1372791" y="514203"/>
                  <a:pt x="1373733" y="513652"/>
                </a:cubicBezTo>
                <a:cubicBezTo>
                  <a:pt x="1374675" y="513101"/>
                  <a:pt x="1375424" y="512357"/>
                  <a:pt x="1376006" y="511393"/>
                </a:cubicBezTo>
                <a:cubicBezTo>
                  <a:pt x="1376588" y="510456"/>
                  <a:pt x="1376865" y="509409"/>
                  <a:pt x="1376865" y="508279"/>
                </a:cubicBezTo>
                <a:cubicBezTo>
                  <a:pt x="1376865" y="506571"/>
                  <a:pt x="1376255" y="505139"/>
                  <a:pt x="1375036" y="503926"/>
                </a:cubicBezTo>
                <a:cubicBezTo>
                  <a:pt x="1373761" y="502714"/>
                  <a:pt x="1372292" y="502108"/>
                  <a:pt x="1370601" y="502108"/>
                </a:cubicBezTo>
                <a:close/>
                <a:moveTo>
                  <a:pt x="1329413" y="473511"/>
                </a:moveTo>
                <a:cubicBezTo>
                  <a:pt x="1332129" y="473511"/>
                  <a:pt x="1334429" y="474200"/>
                  <a:pt x="1336287" y="475577"/>
                </a:cubicBezTo>
                <a:cubicBezTo>
                  <a:pt x="1338144" y="476955"/>
                  <a:pt x="1339529" y="478883"/>
                  <a:pt x="1340499" y="481363"/>
                </a:cubicBezTo>
                <a:cubicBezTo>
                  <a:pt x="1341442" y="483842"/>
                  <a:pt x="1341941" y="486735"/>
                  <a:pt x="1341941" y="490041"/>
                </a:cubicBezTo>
                <a:cubicBezTo>
                  <a:pt x="1341913" y="493430"/>
                  <a:pt x="1341442" y="496350"/>
                  <a:pt x="1340472" y="498885"/>
                </a:cubicBezTo>
                <a:cubicBezTo>
                  <a:pt x="1339502" y="501392"/>
                  <a:pt x="1338088" y="503375"/>
                  <a:pt x="1336231" y="504780"/>
                </a:cubicBezTo>
                <a:cubicBezTo>
                  <a:pt x="1334374" y="506185"/>
                  <a:pt x="1332101" y="506901"/>
                  <a:pt x="1329413" y="506901"/>
                </a:cubicBezTo>
                <a:cubicBezTo>
                  <a:pt x="1326641" y="506901"/>
                  <a:pt x="1324313" y="506158"/>
                  <a:pt x="1322456" y="504697"/>
                </a:cubicBezTo>
                <a:cubicBezTo>
                  <a:pt x="1320571" y="503210"/>
                  <a:pt x="1319157" y="501199"/>
                  <a:pt x="1318215" y="498664"/>
                </a:cubicBezTo>
                <a:cubicBezTo>
                  <a:pt x="1317245" y="496130"/>
                  <a:pt x="1316774" y="493264"/>
                  <a:pt x="1316774" y="490069"/>
                </a:cubicBezTo>
                <a:cubicBezTo>
                  <a:pt x="1316774" y="486928"/>
                  <a:pt x="1317245" y="484118"/>
                  <a:pt x="1318187" y="481611"/>
                </a:cubicBezTo>
                <a:cubicBezTo>
                  <a:pt x="1319130" y="479104"/>
                  <a:pt x="1320543" y="477148"/>
                  <a:pt x="1322400" y="475688"/>
                </a:cubicBezTo>
                <a:cubicBezTo>
                  <a:pt x="1324257" y="474228"/>
                  <a:pt x="1326613" y="473511"/>
                  <a:pt x="1329413" y="473511"/>
                </a:cubicBezTo>
                <a:close/>
                <a:moveTo>
                  <a:pt x="1220844" y="473428"/>
                </a:moveTo>
                <a:cubicBezTo>
                  <a:pt x="1223754" y="473428"/>
                  <a:pt x="1226165" y="474200"/>
                  <a:pt x="1228078" y="475742"/>
                </a:cubicBezTo>
                <a:cubicBezTo>
                  <a:pt x="1229990" y="477285"/>
                  <a:pt x="1231404" y="479351"/>
                  <a:pt x="1232346" y="481886"/>
                </a:cubicBezTo>
                <a:cubicBezTo>
                  <a:pt x="1233261" y="484448"/>
                  <a:pt x="1233732" y="487231"/>
                  <a:pt x="1233732" y="490261"/>
                </a:cubicBezTo>
                <a:cubicBezTo>
                  <a:pt x="1233732" y="493319"/>
                  <a:pt x="1233261" y="496129"/>
                  <a:pt x="1232346" y="498664"/>
                </a:cubicBezTo>
                <a:cubicBezTo>
                  <a:pt x="1231404" y="501199"/>
                  <a:pt x="1229990" y="503237"/>
                  <a:pt x="1228078" y="504780"/>
                </a:cubicBezTo>
                <a:cubicBezTo>
                  <a:pt x="1226165" y="506323"/>
                  <a:pt x="1223754" y="507067"/>
                  <a:pt x="1220844" y="507067"/>
                </a:cubicBezTo>
                <a:cubicBezTo>
                  <a:pt x="1217905" y="507067"/>
                  <a:pt x="1215494" y="506295"/>
                  <a:pt x="1213554" y="504780"/>
                </a:cubicBezTo>
                <a:cubicBezTo>
                  <a:pt x="1211642" y="503265"/>
                  <a:pt x="1210200" y="501226"/>
                  <a:pt x="1209285" y="498664"/>
                </a:cubicBezTo>
                <a:cubicBezTo>
                  <a:pt x="1208343" y="496129"/>
                  <a:pt x="1207900" y="493319"/>
                  <a:pt x="1207900" y="490261"/>
                </a:cubicBezTo>
                <a:cubicBezTo>
                  <a:pt x="1207900" y="487231"/>
                  <a:pt x="1208371" y="484421"/>
                  <a:pt x="1209285" y="481886"/>
                </a:cubicBezTo>
                <a:cubicBezTo>
                  <a:pt x="1210200" y="479324"/>
                  <a:pt x="1211642" y="477285"/>
                  <a:pt x="1213554" y="475742"/>
                </a:cubicBezTo>
                <a:cubicBezTo>
                  <a:pt x="1215466" y="474200"/>
                  <a:pt x="1217905" y="473428"/>
                  <a:pt x="1220844" y="473428"/>
                </a:cubicBezTo>
                <a:close/>
                <a:moveTo>
                  <a:pt x="1125884" y="466265"/>
                </a:moveTo>
                <a:lnTo>
                  <a:pt x="1139964" y="513899"/>
                </a:lnTo>
                <a:lnTo>
                  <a:pt x="1149444" y="513899"/>
                </a:lnTo>
                <a:lnTo>
                  <a:pt x="1159172" y="479517"/>
                </a:lnTo>
                <a:lnTo>
                  <a:pt x="1159893" y="479517"/>
                </a:lnTo>
                <a:lnTo>
                  <a:pt x="1169622" y="513899"/>
                </a:lnTo>
                <a:lnTo>
                  <a:pt x="1179129" y="513899"/>
                </a:lnTo>
                <a:lnTo>
                  <a:pt x="1193209" y="466265"/>
                </a:lnTo>
                <a:lnTo>
                  <a:pt x="1183564" y="466265"/>
                </a:lnTo>
                <a:lnTo>
                  <a:pt x="1174251" y="501088"/>
                </a:lnTo>
                <a:lnTo>
                  <a:pt x="1173780" y="501088"/>
                </a:lnTo>
                <a:lnTo>
                  <a:pt x="1164411" y="466265"/>
                </a:lnTo>
                <a:lnTo>
                  <a:pt x="1154793" y="466265"/>
                </a:lnTo>
                <a:lnTo>
                  <a:pt x="1145369" y="501226"/>
                </a:lnTo>
                <a:lnTo>
                  <a:pt x="1144898" y="501226"/>
                </a:lnTo>
                <a:lnTo>
                  <a:pt x="1135502" y="466265"/>
                </a:lnTo>
                <a:close/>
                <a:moveTo>
                  <a:pt x="1220844" y="465659"/>
                </a:moveTo>
                <a:cubicBezTo>
                  <a:pt x="1216353" y="465659"/>
                  <a:pt x="1212445" y="466678"/>
                  <a:pt x="1209091" y="468717"/>
                </a:cubicBezTo>
                <a:cubicBezTo>
                  <a:pt x="1205738" y="470756"/>
                  <a:pt x="1203132" y="473649"/>
                  <a:pt x="1201303" y="477340"/>
                </a:cubicBezTo>
                <a:cubicBezTo>
                  <a:pt x="1199446" y="481032"/>
                  <a:pt x="1198531" y="485357"/>
                  <a:pt x="1198531" y="490289"/>
                </a:cubicBezTo>
                <a:cubicBezTo>
                  <a:pt x="1198531" y="495220"/>
                  <a:pt x="1199473" y="499518"/>
                  <a:pt x="1201303" y="503182"/>
                </a:cubicBezTo>
                <a:cubicBezTo>
                  <a:pt x="1203160" y="506874"/>
                  <a:pt x="1205738" y="509712"/>
                  <a:pt x="1209091" y="511778"/>
                </a:cubicBezTo>
                <a:cubicBezTo>
                  <a:pt x="1212445" y="513817"/>
                  <a:pt x="1216353" y="514836"/>
                  <a:pt x="1220844" y="514836"/>
                </a:cubicBezTo>
                <a:cubicBezTo>
                  <a:pt x="1225334" y="514836"/>
                  <a:pt x="1229242" y="513817"/>
                  <a:pt x="1232596" y="511778"/>
                </a:cubicBezTo>
                <a:cubicBezTo>
                  <a:pt x="1235950" y="509739"/>
                  <a:pt x="1238555" y="506874"/>
                  <a:pt x="1240384" y="503182"/>
                </a:cubicBezTo>
                <a:cubicBezTo>
                  <a:pt x="1242241" y="499518"/>
                  <a:pt x="1243156" y="495193"/>
                  <a:pt x="1243156" y="490289"/>
                </a:cubicBezTo>
                <a:cubicBezTo>
                  <a:pt x="1243156" y="485357"/>
                  <a:pt x="1242241" y="481032"/>
                  <a:pt x="1240384" y="477340"/>
                </a:cubicBezTo>
                <a:cubicBezTo>
                  <a:pt x="1238527" y="473649"/>
                  <a:pt x="1235922" y="470756"/>
                  <a:pt x="1232596" y="468717"/>
                </a:cubicBezTo>
                <a:cubicBezTo>
                  <a:pt x="1229242" y="466678"/>
                  <a:pt x="1225334" y="465659"/>
                  <a:pt x="1220844" y="465659"/>
                </a:cubicBezTo>
                <a:close/>
                <a:moveTo>
                  <a:pt x="1275309" y="465549"/>
                </a:moveTo>
                <a:cubicBezTo>
                  <a:pt x="1272509" y="465549"/>
                  <a:pt x="1269987" y="466293"/>
                  <a:pt x="1267770" y="467753"/>
                </a:cubicBezTo>
                <a:cubicBezTo>
                  <a:pt x="1265552" y="469241"/>
                  <a:pt x="1264000" y="471252"/>
                  <a:pt x="1263141" y="473814"/>
                </a:cubicBezTo>
                <a:lnTo>
                  <a:pt x="1262642" y="473814"/>
                </a:lnTo>
                <a:lnTo>
                  <a:pt x="1262642" y="466238"/>
                </a:lnTo>
                <a:lnTo>
                  <a:pt x="1253634" y="466238"/>
                </a:lnTo>
                <a:lnTo>
                  <a:pt x="1253634" y="513844"/>
                </a:lnTo>
                <a:lnTo>
                  <a:pt x="1262975" y="513844"/>
                </a:lnTo>
                <a:lnTo>
                  <a:pt x="1262975" y="484806"/>
                </a:lnTo>
                <a:cubicBezTo>
                  <a:pt x="1262975" y="482740"/>
                  <a:pt x="1263474" y="480894"/>
                  <a:pt x="1264471" y="479269"/>
                </a:cubicBezTo>
                <a:cubicBezTo>
                  <a:pt x="1265469" y="477643"/>
                  <a:pt x="1266827" y="476376"/>
                  <a:pt x="1268546" y="475467"/>
                </a:cubicBezTo>
                <a:cubicBezTo>
                  <a:pt x="1270264" y="474558"/>
                  <a:pt x="1272232" y="474090"/>
                  <a:pt x="1274422" y="474090"/>
                </a:cubicBezTo>
                <a:cubicBezTo>
                  <a:pt x="1275364" y="474090"/>
                  <a:pt x="1276334" y="474172"/>
                  <a:pt x="1277277" y="474282"/>
                </a:cubicBezTo>
                <a:cubicBezTo>
                  <a:pt x="1278247" y="474420"/>
                  <a:pt x="1278912" y="474530"/>
                  <a:pt x="1279272" y="474641"/>
                </a:cubicBezTo>
                <a:lnTo>
                  <a:pt x="1279272" y="465769"/>
                </a:lnTo>
                <a:cubicBezTo>
                  <a:pt x="1278801" y="465714"/>
                  <a:pt x="1278191" y="465659"/>
                  <a:pt x="1277388" y="465604"/>
                </a:cubicBezTo>
                <a:cubicBezTo>
                  <a:pt x="1276584" y="465577"/>
                  <a:pt x="1275891" y="465549"/>
                  <a:pt x="1275309" y="465549"/>
                </a:cubicBezTo>
                <a:close/>
                <a:moveTo>
                  <a:pt x="1341774" y="450397"/>
                </a:moveTo>
                <a:lnTo>
                  <a:pt x="1341774" y="473980"/>
                </a:lnTo>
                <a:lnTo>
                  <a:pt x="1341747" y="473980"/>
                </a:lnTo>
                <a:lnTo>
                  <a:pt x="1341192" y="473980"/>
                </a:lnTo>
                <a:cubicBezTo>
                  <a:pt x="1340638" y="472988"/>
                  <a:pt x="1339834" y="471831"/>
                  <a:pt x="1338836" y="470536"/>
                </a:cubicBezTo>
                <a:cubicBezTo>
                  <a:pt x="1337811" y="469241"/>
                  <a:pt x="1336397" y="468084"/>
                  <a:pt x="1334596" y="467120"/>
                </a:cubicBezTo>
                <a:cubicBezTo>
                  <a:pt x="1332766" y="466128"/>
                  <a:pt x="1330383" y="465660"/>
                  <a:pt x="1327417" y="465660"/>
                </a:cubicBezTo>
                <a:cubicBezTo>
                  <a:pt x="1323564" y="465660"/>
                  <a:pt x="1320127" y="466624"/>
                  <a:pt x="1317079" y="468580"/>
                </a:cubicBezTo>
                <a:cubicBezTo>
                  <a:pt x="1314030" y="470536"/>
                  <a:pt x="1311646" y="473318"/>
                  <a:pt x="1309927" y="476982"/>
                </a:cubicBezTo>
                <a:cubicBezTo>
                  <a:pt x="1308181" y="480647"/>
                  <a:pt x="1307322" y="485055"/>
                  <a:pt x="1307322" y="490179"/>
                </a:cubicBezTo>
                <a:cubicBezTo>
                  <a:pt x="1307322" y="495331"/>
                  <a:pt x="1308181" y="499739"/>
                  <a:pt x="1309900" y="503403"/>
                </a:cubicBezTo>
                <a:cubicBezTo>
                  <a:pt x="1311618" y="507067"/>
                  <a:pt x="1313974" y="509877"/>
                  <a:pt x="1317023" y="511860"/>
                </a:cubicBezTo>
                <a:cubicBezTo>
                  <a:pt x="1320044" y="513844"/>
                  <a:pt x="1323481" y="514808"/>
                  <a:pt x="1327362" y="514808"/>
                </a:cubicBezTo>
                <a:cubicBezTo>
                  <a:pt x="1330272" y="514808"/>
                  <a:pt x="1332628" y="514312"/>
                  <a:pt x="1334485" y="513348"/>
                </a:cubicBezTo>
                <a:cubicBezTo>
                  <a:pt x="1336314" y="512384"/>
                  <a:pt x="1337755" y="511227"/>
                  <a:pt x="1338809" y="509932"/>
                </a:cubicBezTo>
                <a:cubicBezTo>
                  <a:pt x="1339862" y="508637"/>
                  <a:pt x="1340666" y="507480"/>
                  <a:pt x="1341220" y="506461"/>
                </a:cubicBezTo>
                <a:lnTo>
                  <a:pt x="1341996" y="506461"/>
                </a:lnTo>
                <a:lnTo>
                  <a:pt x="1341996" y="513872"/>
                </a:lnTo>
                <a:lnTo>
                  <a:pt x="1351115" y="513872"/>
                </a:lnTo>
                <a:lnTo>
                  <a:pt x="1351115" y="450397"/>
                </a:lnTo>
                <a:close/>
                <a:moveTo>
                  <a:pt x="1287449" y="450397"/>
                </a:moveTo>
                <a:lnTo>
                  <a:pt x="1287449" y="513872"/>
                </a:lnTo>
                <a:lnTo>
                  <a:pt x="1296790" y="513872"/>
                </a:lnTo>
                <a:lnTo>
                  <a:pt x="1296790" y="450397"/>
                </a:lnTo>
                <a:close/>
                <a:moveTo>
                  <a:pt x="1297372" y="401633"/>
                </a:moveTo>
                <a:lnTo>
                  <a:pt x="1297372" y="407777"/>
                </a:lnTo>
                <a:lnTo>
                  <a:pt x="1297344" y="407777"/>
                </a:lnTo>
                <a:cubicBezTo>
                  <a:pt x="1297344" y="409650"/>
                  <a:pt x="1296845" y="411413"/>
                  <a:pt x="1295903" y="413066"/>
                </a:cubicBezTo>
                <a:cubicBezTo>
                  <a:pt x="1294932" y="414719"/>
                  <a:pt x="1293547" y="416042"/>
                  <a:pt x="1291689" y="417061"/>
                </a:cubicBezTo>
                <a:cubicBezTo>
                  <a:pt x="1289860" y="418080"/>
                  <a:pt x="1287643" y="418576"/>
                  <a:pt x="1285065" y="418576"/>
                </a:cubicBezTo>
                <a:cubicBezTo>
                  <a:pt x="1282432" y="418576"/>
                  <a:pt x="1280242" y="417998"/>
                  <a:pt x="1278552" y="416813"/>
                </a:cubicBezTo>
                <a:cubicBezTo>
                  <a:pt x="1276833" y="415656"/>
                  <a:pt x="1276002" y="413920"/>
                  <a:pt x="1276002" y="411634"/>
                </a:cubicBezTo>
                <a:cubicBezTo>
                  <a:pt x="1276002" y="409981"/>
                  <a:pt x="1276445" y="408658"/>
                  <a:pt x="1277332" y="407639"/>
                </a:cubicBezTo>
                <a:cubicBezTo>
                  <a:pt x="1278219" y="406647"/>
                  <a:pt x="1279411" y="405876"/>
                  <a:pt x="1280880" y="405325"/>
                </a:cubicBezTo>
                <a:cubicBezTo>
                  <a:pt x="1282377" y="404801"/>
                  <a:pt x="1284012" y="404416"/>
                  <a:pt x="1285814" y="404168"/>
                </a:cubicBezTo>
                <a:cubicBezTo>
                  <a:pt x="1286590" y="404057"/>
                  <a:pt x="1287532" y="403947"/>
                  <a:pt x="1288696" y="403782"/>
                </a:cubicBezTo>
                <a:cubicBezTo>
                  <a:pt x="1289832" y="403617"/>
                  <a:pt x="1291024" y="403451"/>
                  <a:pt x="1292216" y="403259"/>
                </a:cubicBezTo>
                <a:cubicBezTo>
                  <a:pt x="1293408" y="403066"/>
                  <a:pt x="1294489" y="402818"/>
                  <a:pt x="1295459" y="402542"/>
                </a:cubicBezTo>
                <a:cubicBezTo>
                  <a:pt x="1296402" y="402267"/>
                  <a:pt x="1297039" y="401964"/>
                  <a:pt x="1297372" y="401633"/>
                </a:cubicBezTo>
                <a:close/>
                <a:moveTo>
                  <a:pt x="1363312" y="384608"/>
                </a:moveTo>
                <a:cubicBezTo>
                  <a:pt x="1366111" y="384608"/>
                  <a:pt x="1368467" y="385324"/>
                  <a:pt x="1370352" y="386785"/>
                </a:cubicBezTo>
                <a:cubicBezTo>
                  <a:pt x="1372237" y="388245"/>
                  <a:pt x="1373650" y="390201"/>
                  <a:pt x="1374593" y="392708"/>
                </a:cubicBezTo>
                <a:cubicBezTo>
                  <a:pt x="1375535" y="395215"/>
                  <a:pt x="1376007" y="398025"/>
                  <a:pt x="1376007" y="401166"/>
                </a:cubicBezTo>
                <a:cubicBezTo>
                  <a:pt x="1376007" y="404334"/>
                  <a:pt x="1375535" y="407199"/>
                  <a:pt x="1374565" y="409734"/>
                </a:cubicBezTo>
                <a:cubicBezTo>
                  <a:pt x="1373595" y="412268"/>
                  <a:pt x="1372182" y="414279"/>
                  <a:pt x="1370297" y="415767"/>
                </a:cubicBezTo>
                <a:cubicBezTo>
                  <a:pt x="1368440" y="417255"/>
                  <a:pt x="1366084" y="417971"/>
                  <a:pt x="1363312" y="417971"/>
                </a:cubicBezTo>
                <a:cubicBezTo>
                  <a:pt x="1360623" y="417971"/>
                  <a:pt x="1358378" y="417255"/>
                  <a:pt x="1356521" y="415850"/>
                </a:cubicBezTo>
                <a:cubicBezTo>
                  <a:pt x="1354664" y="414445"/>
                  <a:pt x="1353250" y="412461"/>
                  <a:pt x="1352280" y="409954"/>
                </a:cubicBezTo>
                <a:cubicBezTo>
                  <a:pt x="1351310" y="407447"/>
                  <a:pt x="1350811" y="404499"/>
                  <a:pt x="1350811" y="401138"/>
                </a:cubicBezTo>
                <a:cubicBezTo>
                  <a:pt x="1350811" y="397832"/>
                  <a:pt x="1351282" y="394939"/>
                  <a:pt x="1352253" y="392460"/>
                </a:cubicBezTo>
                <a:cubicBezTo>
                  <a:pt x="1353195" y="389980"/>
                  <a:pt x="1354608" y="388052"/>
                  <a:pt x="1356466" y="386674"/>
                </a:cubicBezTo>
                <a:cubicBezTo>
                  <a:pt x="1358323" y="385297"/>
                  <a:pt x="1360596" y="384608"/>
                  <a:pt x="1363312" y="384608"/>
                </a:cubicBezTo>
                <a:close/>
                <a:moveTo>
                  <a:pt x="1181486" y="384497"/>
                </a:moveTo>
                <a:cubicBezTo>
                  <a:pt x="1184396" y="384497"/>
                  <a:pt x="1186807" y="385268"/>
                  <a:pt x="1188720" y="386811"/>
                </a:cubicBezTo>
                <a:cubicBezTo>
                  <a:pt x="1190632" y="388354"/>
                  <a:pt x="1192046" y="390420"/>
                  <a:pt x="1192988" y="392955"/>
                </a:cubicBezTo>
                <a:cubicBezTo>
                  <a:pt x="1193903" y="395517"/>
                  <a:pt x="1194374" y="398299"/>
                  <a:pt x="1194374" y="401330"/>
                </a:cubicBezTo>
                <a:cubicBezTo>
                  <a:pt x="1194374" y="404388"/>
                  <a:pt x="1193903" y="407198"/>
                  <a:pt x="1192988" y="409733"/>
                </a:cubicBezTo>
                <a:cubicBezTo>
                  <a:pt x="1192046" y="412267"/>
                  <a:pt x="1190632" y="414306"/>
                  <a:pt x="1188720" y="415849"/>
                </a:cubicBezTo>
                <a:cubicBezTo>
                  <a:pt x="1186807" y="417391"/>
                  <a:pt x="1184396" y="418135"/>
                  <a:pt x="1181486" y="418135"/>
                </a:cubicBezTo>
                <a:cubicBezTo>
                  <a:pt x="1178548" y="418135"/>
                  <a:pt x="1176136" y="417364"/>
                  <a:pt x="1174196" y="415849"/>
                </a:cubicBezTo>
                <a:cubicBezTo>
                  <a:pt x="1172284" y="414333"/>
                  <a:pt x="1170842" y="412295"/>
                  <a:pt x="1169927" y="409733"/>
                </a:cubicBezTo>
                <a:cubicBezTo>
                  <a:pt x="1168985" y="407198"/>
                  <a:pt x="1168542" y="404388"/>
                  <a:pt x="1168542" y="401330"/>
                </a:cubicBezTo>
                <a:cubicBezTo>
                  <a:pt x="1168542" y="398299"/>
                  <a:pt x="1169013" y="395489"/>
                  <a:pt x="1169927" y="392955"/>
                </a:cubicBezTo>
                <a:cubicBezTo>
                  <a:pt x="1170842" y="390393"/>
                  <a:pt x="1172284" y="388354"/>
                  <a:pt x="1174196" y="386811"/>
                </a:cubicBezTo>
                <a:cubicBezTo>
                  <a:pt x="1176108" y="385268"/>
                  <a:pt x="1178548" y="384497"/>
                  <a:pt x="1181486" y="384497"/>
                </a:cubicBezTo>
                <a:close/>
                <a:moveTo>
                  <a:pt x="1530004" y="384387"/>
                </a:moveTo>
                <a:cubicBezTo>
                  <a:pt x="1532415" y="384387"/>
                  <a:pt x="1534522" y="384938"/>
                  <a:pt x="1536324" y="386040"/>
                </a:cubicBezTo>
                <a:cubicBezTo>
                  <a:pt x="1538125" y="387142"/>
                  <a:pt x="1539511" y="388630"/>
                  <a:pt x="1540509" y="390531"/>
                </a:cubicBezTo>
                <a:cubicBezTo>
                  <a:pt x="1541507" y="392431"/>
                  <a:pt x="1542006" y="394580"/>
                  <a:pt x="1542006" y="397032"/>
                </a:cubicBezTo>
                <a:lnTo>
                  <a:pt x="1517198" y="397032"/>
                </a:lnTo>
                <a:lnTo>
                  <a:pt x="1517198" y="397005"/>
                </a:lnTo>
                <a:cubicBezTo>
                  <a:pt x="1517309" y="394966"/>
                  <a:pt x="1517753" y="393038"/>
                  <a:pt x="1518667" y="391247"/>
                </a:cubicBezTo>
                <a:cubicBezTo>
                  <a:pt x="1519721" y="389208"/>
                  <a:pt x="1521217" y="387555"/>
                  <a:pt x="1523158" y="386288"/>
                </a:cubicBezTo>
                <a:cubicBezTo>
                  <a:pt x="1525098" y="385021"/>
                  <a:pt x="1527371" y="384387"/>
                  <a:pt x="1530004" y="384387"/>
                </a:cubicBezTo>
                <a:close/>
                <a:moveTo>
                  <a:pt x="1415227" y="384387"/>
                </a:moveTo>
                <a:cubicBezTo>
                  <a:pt x="1417638" y="384387"/>
                  <a:pt x="1419745" y="384938"/>
                  <a:pt x="1421547" y="386040"/>
                </a:cubicBezTo>
                <a:cubicBezTo>
                  <a:pt x="1423348" y="387142"/>
                  <a:pt x="1424734" y="388630"/>
                  <a:pt x="1425732" y="390531"/>
                </a:cubicBezTo>
                <a:cubicBezTo>
                  <a:pt x="1426730" y="392431"/>
                  <a:pt x="1427229" y="394580"/>
                  <a:pt x="1427229" y="397032"/>
                </a:cubicBezTo>
                <a:lnTo>
                  <a:pt x="1402421" y="397032"/>
                </a:lnTo>
                <a:lnTo>
                  <a:pt x="1402421" y="397005"/>
                </a:lnTo>
                <a:cubicBezTo>
                  <a:pt x="1402532" y="394966"/>
                  <a:pt x="1402976" y="393038"/>
                  <a:pt x="1403890" y="391247"/>
                </a:cubicBezTo>
                <a:cubicBezTo>
                  <a:pt x="1404944" y="389208"/>
                  <a:pt x="1406440" y="387555"/>
                  <a:pt x="1408381" y="386288"/>
                </a:cubicBezTo>
                <a:cubicBezTo>
                  <a:pt x="1410321" y="385021"/>
                  <a:pt x="1412594" y="384387"/>
                  <a:pt x="1415227" y="384387"/>
                </a:cubicBezTo>
                <a:close/>
                <a:moveTo>
                  <a:pt x="1529948" y="376728"/>
                </a:moveTo>
                <a:cubicBezTo>
                  <a:pt x="1525514" y="376728"/>
                  <a:pt x="1521633" y="377775"/>
                  <a:pt x="1518307" y="379869"/>
                </a:cubicBezTo>
                <a:cubicBezTo>
                  <a:pt x="1514981" y="381963"/>
                  <a:pt x="1512403" y="384855"/>
                  <a:pt x="1510574" y="388574"/>
                </a:cubicBezTo>
                <a:cubicBezTo>
                  <a:pt x="1508744" y="392294"/>
                  <a:pt x="1507802" y="396592"/>
                  <a:pt x="1507802" y="401468"/>
                </a:cubicBezTo>
                <a:cubicBezTo>
                  <a:pt x="1507802" y="406399"/>
                  <a:pt x="1508717" y="410725"/>
                  <a:pt x="1510574" y="414389"/>
                </a:cubicBezTo>
                <a:cubicBezTo>
                  <a:pt x="1512403" y="418053"/>
                  <a:pt x="1515036" y="420891"/>
                  <a:pt x="1518418" y="422902"/>
                </a:cubicBezTo>
                <a:cubicBezTo>
                  <a:pt x="1521827" y="424913"/>
                  <a:pt x="1525874" y="425932"/>
                  <a:pt x="1530614" y="425932"/>
                </a:cubicBezTo>
                <a:cubicBezTo>
                  <a:pt x="1534106" y="425932"/>
                  <a:pt x="1537210" y="425409"/>
                  <a:pt x="1539955" y="424334"/>
                </a:cubicBezTo>
                <a:cubicBezTo>
                  <a:pt x="1542699" y="423260"/>
                  <a:pt x="1544971" y="421772"/>
                  <a:pt x="1546773" y="419844"/>
                </a:cubicBezTo>
                <a:cubicBezTo>
                  <a:pt x="1548602" y="417915"/>
                  <a:pt x="1549850" y="415656"/>
                  <a:pt x="1550570" y="413066"/>
                </a:cubicBezTo>
                <a:lnTo>
                  <a:pt x="1541756" y="411496"/>
                </a:lnTo>
                <a:cubicBezTo>
                  <a:pt x="1541202" y="412984"/>
                  <a:pt x="1540370" y="414224"/>
                  <a:pt x="1539317" y="415243"/>
                </a:cubicBezTo>
                <a:cubicBezTo>
                  <a:pt x="1538264" y="416262"/>
                  <a:pt x="1536989" y="417006"/>
                  <a:pt x="1535547" y="417530"/>
                </a:cubicBezTo>
                <a:cubicBezTo>
                  <a:pt x="1534078" y="418025"/>
                  <a:pt x="1532471" y="418301"/>
                  <a:pt x="1530725" y="418301"/>
                </a:cubicBezTo>
                <a:cubicBezTo>
                  <a:pt x="1528008" y="418301"/>
                  <a:pt x="1525625" y="417722"/>
                  <a:pt x="1523573" y="416538"/>
                </a:cubicBezTo>
                <a:cubicBezTo>
                  <a:pt x="1521550" y="415381"/>
                  <a:pt x="1519942" y="413673"/>
                  <a:pt x="1518834" y="411441"/>
                </a:cubicBezTo>
                <a:cubicBezTo>
                  <a:pt x="1517780" y="409375"/>
                  <a:pt x="1517281" y="406868"/>
                  <a:pt x="1517198" y="403975"/>
                </a:cubicBezTo>
                <a:lnTo>
                  <a:pt x="1551180" y="403975"/>
                </a:lnTo>
                <a:lnTo>
                  <a:pt x="1551180" y="400696"/>
                </a:lnTo>
                <a:cubicBezTo>
                  <a:pt x="1551180" y="396371"/>
                  <a:pt x="1550598" y="392707"/>
                  <a:pt x="1549434" y="389676"/>
                </a:cubicBezTo>
                <a:cubicBezTo>
                  <a:pt x="1548242" y="386618"/>
                  <a:pt x="1546662" y="384139"/>
                  <a:pt x="1544639" y="382238"/>
                </a:cubicBezTo>
                <a:cubicBezTo>
                  <a:pt x="1542615" y="380337"/>
                  <a:pt x="1540343" y="378932"/>
                  <a:pt x="1537820" y="378050"/>
                </a:cubicBezTo>
                <a:cubicBezTo>
                  <a:pt x="1535270" y="377169"/>
                  <a:pt x="1532665" y="376728"/>
                  <a:pt x="1529948" y="376728"/>
                </a:cubicBezTo>
                <a:close/>
                <a:moveTo>
                  <a:pt x="1415171" y="376728"/>
                </a:moveTo>
                <a:cubicBezTo>
                  <a:pt x="1410737" y="376728"/>
                  <a:pt x="1406856" y="377775"/>
                  <a:pt x="1403530" y="379869"/>
                </a:cubicBezTo>
                <a:cubicBezTo>
                  <a:pt x="1400204" y="381963"/>
                  <a:pt x="1397626" y="384855"/>
                  <a:pt x="1395797" y="388574"/>
                </a:cubicBezTo>
                <a:cubicBezTo>
                  <a:pt x="1393967" y="392294"/>
                  <a:pt x="1393025" y="396592"/>
                  <a:pt x="1393025" y="401468"/>
                </a:cubicBezTo>
                <a:cubicBezTo>
                  <a:pt x="1393025" y="406399"/>
                  <a:pt x="1393940" y="410725"/>
                  <a:pt x="1395797" y="414389"/>
                </a:cubicBezTo>
                <a:cubicBezTo>
                  <a:pt x="1397626" y="418053"/>
                  <a:pt x="1400259" y="420891"/>
                  <a:pt x="1403641" y="422902"/>
                </a:cubicBezTo>
                <a:cubicBezTo>
                  <a:pt x="1407050" y="424913"/>
                  <a:pt x="1411097" y="425932"/>
                  <a:pt x="1415837" y="425932"/>
                </a:cubicBezTo>
                <a:cubicBezTo>
                  <a:pt x="1419329" y="425932"/>
                  <a:pt x="1422434" y="425409"/>
                  <a:pt x="1425177" y="424334"/>
                </a:cubicBezTo>
                <a:cubicBezTo>
                  <a:pt x="1427922" y="423260"/>
                  <a:pt x="1430194" y="421772"/>
                  <a:pt x="1431996" y="419844"/>
                </a:cubicBezTo>
                <a:cubicBezTo>
                  <a:pt x="1433826" y="417915"/>
                  <a:pt x="1435073" y="415656"/>
                  <a:pt x="1435793" y="413066"/>
                </a:cubicBezTo>
                <a:lnTo>
                  <a:pt x="1426979" y="411496"/>
                </a:lnTo>
                <a:cubicBezTo>
                  <a:pt x="1426425" y="412984"/>
                  <a:pt x="1425593" y="414224"/>
                  <a:pt x="1424540" y="415243"/>
                </a:cubicBezTo>
                <a:cubicBezTo>
                  <a:pt x="1423487" y="416262"/>
                  <a:pt x="1422212" y="417006"/>
                  <a:pt x="1420771" y="417530"/>
                </a:cubicBezTo>
                <a:cubicBezTo>
                  <a:pt x="1419301" y="418025"/>
                  <a:pt x="1417694" y="418301"/>
                  <a:pt x="1415947" y="418301"/>
                </a:cubicBezTo>
                <a:cubicBezTo>
                  <a:pt x="1413231" y="418301"/>
                  <a:pt x="1410848" y="417722"/>
                  <a:pt x="1408796" y="416538"/>
                </a:cubicBezTo>
                <a:cubicBezTo>
                  <a:pt x="1406773" y="415381"/>
                  <a:pt x="1405165" y="413673"/>
                  <a:pt x="1404057" y="411441"/>
                </a:cubicBezTo>
                <a:cubicBezTo>
                  <a:pt x="1403003" y="409375"/>
                  <a:pt x="1402505" y="406868"/>
                  <a:pt x="1402421" y="403975"/>
                </a:cubicBezTo>
                <a:lnTo>
                  <a:pt x="1436403" y="403975"/>
                </a:lnTo>
                <a:lnTo>
                  <a:pt x="1436403" y="400696"/>
                </a:lnTo>
                <a:cubicBezTo>
                  <a:pt x="1436403" y="396371"/>
                  <a:pt x="1435821" y="392707"/>
                  <a:pt x="1434657" y="389676"/>
                </a:cubicBezTo>
                <a:cubicBezTo>
                  <a:pt x="1433465" y="386618"/>
                  <a:pt x="1431885" y="384139"/>
                  <a:pt x="1429862" y="382238"/>
                </a:cubicBezTo>
                <a:cubicBezTo>
                  <a:pt x="1427838" y="380337"/>
                  <a:pt x="1425566" y="378932"/>
                  <a:pt x="1423043" y="378050"/>
                </a:cubicBezTo>
                <a:cubicBezTo>
                  <a:pt x="1420493" y="377169"/>
                  <a:pt x="1417888" y="376728"/>
                  <a:pt x="1415171" y="376728"/>
                </a:cubicBezTo>
                <a:close/>
                <a:moveTo>
                  <a:pt x="1288086" y="376728"/>
                </a:moveTo>
                <a:cubicBezTo>
                  <a:pt x="1285204" y="376728"/>
                  <a:pt x="1282432" y="377141"/>
                  <a:pt x="1279827" y="377940"/>
                </a:cubicBezTo>
                <a:cubicBezTo>
                  <a:pt x="1277221" y="378767"/>
                  <a:pt x="1274893" y="380062"/>
                  <a:pt x="1272897" y="381852"/>
                </a:cubicBezTo>
                <a:cubicBezTo>
                  <a:pt x="1270902" y="383643"/>
                  <a:pt x="1269377" y="385985"/>
                  <a:pt x="1268324" y="388877"/>
                </a:cubicBezTo>
                <a:lnTo>
                  <a:pt x="1277083" y="390861"/>
                </a:lnTo>
                <a:cubicBezTo>
                  <a:pt x="1277776" y="389181"/>
                  <a:pt x="1279023" y="387665"/>
                  <a:pt x="1280824" y="386288"/>
                </a:cubicBezTo>
                <a:cubicBezTo>
                  <a:pt x="1282626" y="384910"/>
                  <a:pt x="1285093" y="384222"/>
                  <a:pt x="1288225" y="384222"/>
                </a:cubicBezTo>
                <a:cubicBezTo>
                  <a:pt x="1291246" y="384222"/>
                  <a:pt x="1293519" y="384965"/>
                  <a:pt x="1295043" y="386453"/>
                </a:cubicBezTo>
                <a:cubicBezTo>
                  <a:pt x="1296568" y="387941"/>
                  <a:pt x="1297344" y="390035"/>
                  <a:pt x="1297344" y="392762"/>
                </a:cubicBezTo>
                <a:lnTo>
                  <a:pt x="1297344" y="392982"/>
                </a:lnTo>
                <a:cubicBezTo>
                  <a:pt x="1297344" y="394084"/>
                  <a:pt x="1296956" y="394911"/>
                  <a:pt x="1296124" y="395407"/>
                </a:cubicBezTo>
                <a:cubicBezTo>
                  <a:pt x="1295321" y="395903"/>
                  <a:pt x="1294018" y="396261"/>
                  <a:pt x="1292216" y="396481"/>
                </a:cubicBezTo>
                <a:cubicBezTo>
                  <a:pt x="1290415" y="396702"/>
                  <a:pt x="1288086" y="396977"/>
                  <a:pt x="1285231" y="397308"/>
                </a:cubicBezTo>
                <a:cubicBezTo>
                  <a:pt x="1282959" y="397583"/>
                  <a:pt x="1280741" y="397969"/>
                  <a:pt x="1278552" y="398492"/>
                </a:cubicBezTo>
                <a:cubicBezTo>
                  <a:pt x="1276362" y="399016"/>
                  <a:pt x="1274394" y="399787"/>
                  <a:pt x="1272620" y="400779"/>
                </a:cubicBezTo>
                <a:cubicBezTo>
                  <a:pt x="1270846" y="401798"/>
                  <a:pt x="1269460" y="403176"/>
                  <a:pt x="1268407" y="404912"/>
                </a:cubicBezTo>
                <a:cubicBezTo>
                  <a:pt x="1267382" y="406647"/>
                  <a:pt x="1266855" y="408851"/>
                  <a:pt x="1266855" y="411551"/>
                </a:cubicBezTo>
                <a:cubicBezTo>
                  <a:pt x="1266855" y="414664"/>
                  <a:pt x="1267576" y="417309"/>
                  <a:pt x="1268989" y="419458"/>
                </a:cubicBezTo>
                <a:cubicBezTo>
                  <a:pt x="1270403" y="421607"/>
                  <a:pt x="1272343" y="423232"/>
                  <a:pt x="1274810" y="424362"/>
                </a:cubicBezTo>
                <a:cubicBezTo>
                  <a:pt x="1277277" y="425491"/>
                  <a:pt x="1279993" y="426042"/>
                  <a:pt x="1283042" y="426042"/>
                </a:cubicBezTo>
                <a:cubicBezTo>
                  <a:pt x="1285675" y="426042"/>
                  <a:pt x="1287948" y="425657"/>
                  <a:pt x="1289832" y="424885"/>
                </a:cubicBezTo>
                <a:cubicBezTo>
                  <a:pt x="1291717" y="424114"/>
                  <a:pt x="1293269" y="423150"/>
                  <a:pt x="1294489" y="421992"/>
                </a:cubicBezTo>
                <a:cubicBezTo>
                  <a:pt x="1295681" y="420835"/>
                  <a:pt x="1296595" y="419651"/>
                  <a:pt x="1297205" y="418466"/>
                </a:cubicBezTo>
                <a:lnTo>
                  <a:pt x="1297593" y="418466"/>
                </a:lnTo>
                <a:lnTo>
                  <a:pt x="1297593" y="424968"/>
                </a:lnTo>
                <a:lnTo>
                  <a:pt x="1306712" y="424968"/>
                </a:lnTo>
                <a:lnTo>
                  <a:pt x="1306712" y="393341"/>
                </a:lnTo>
                <a:cubicBezTo>
                  <a:pt x="1306712" y="389869"/>
                  <a:pt x="1306102" y="387032"/>
                  <a:pt x="1304883" y="384855"/>
                </a:cubicBezTo>
                <a:cubicBezTo>
                  <a:pt x="1303636" y="382679"/>
                  <a:pt x="1302111" y="380998"/>
                  <a:pt x="1300227" y="379814"/>
                </a:cubicBezTo>
                <a:cubicBezTo>
                  <a:pt x="1298342" y="378629"/>
                  <a:pt x="1296318" y="377830"/>
                  <a:pt x="1294184" y="377389"/>
                </a:cubicBezTo>
                <a:cubicBezTo>
                  <a:pt x="1292022" y="376948"/>
                  <a:pt x="1289999" y="376728"/>
                  <a:pt x="1288086" y="376728"/>
                </a:cubicBezTo>
                <a:close/>
                <a:moveTo>
                  <a:pt x="1181486" y="376728"/>
                </a:moveTo>
                <a:cubicBezTo>
                  <a:pt x="1176995" y="376728"/>
                  <a:pt x="1173087" y="377747"/>
                  <a:pt x="1169733" y="379786"/>
                </a:cubicBezTo>
                <a:cubicBezTo>
                  <a:pt x="1166380" y="381825"/>
                  <a:pt x="1163774" y="384717"/>
                  <a:pt x="1161945" y="388409"/>
                </a:cubicBezTo>
                <a:cubicBezTo>
                  <a:pt x="1160088" y="392101"/>
                  <a:pt x="1159173" y="396426"/>
                  <a:pt x="1159173" y="401357"/>
                </a:cubicBezTo>
                <a:cubicBezTo>
                  <a:pt x="1159173" y="406289"/>
                  <a:pt x="1160115" y="410587"/>
                  <a:pt x="1161945" y="414251"/>
                </a:cubicBezTo>
                <a:cubicBezTo>
                  <a:pt x="1163802" y="417942"/>
                  <a:pt x="1166380" y="420780"/>
                  <a:pt x="1169733" y="422846"/>
                </a:cubicBezTo>
                <a:cubicBezTo>
                  <a:pt x="1173087" y="424885"/>
                  <a:pt x="1176995" y="425904"/>
                  <a:pt x="1181486" y="425904"/>
                </a:cubicBezTo>
                <a:cubicBezTo>
                  <a:pt x="1185976" y="425904"/>
                  <a:pt x="1189884" y="424885"/>
                  <a:pt x="1193238" y="422846"/>
                </a:cubicBezTo>
                <a:cubicBezTo>
                  <a:pt x="1196592" y="420808"/>
                  <a:pt x="1199197" y="417942"/>
                  <a:pt x="1201026" y="414251"/>
                </a:cubicBezTo>
                <a:cubicBezTo>
                  <a:pt x="1202884" y="410587"/>
                  <a:pt x="1203798" y="406289"/>
                  <a:pt x="1203798" y="401357"/>
                </a:cubicBezTo>
                <a:cubicBezTo>
                  <a:pt x="1203798" y="396426"/>
                  <a:pt x="1202884" y="392101"/>
                  <a:pt x="1201026" y="388409"/>
                </a:cubicBezTo>
                <a:cubicBezTo>
                  <a:pt x="1199169" y="384717"/>
                  <a:pt x="1196564" y="381852"/>
                  <a:pt x="1193238" y="379786"/>
                </a:cubicBezTo>
                <a:cubicBezTo>
                  <a:pt x="1189884" y="377747"/>
                  <a:pt x="1185976" y="376728"/>
                  <a:pt x="1181486" y="376728"/>
                </a:cubicBezTo>
                <a:close/>
                <a:moveTo>
                  <a:pt x="1582528" y="376618"/>
                </a:moveTo>
                <a:cubicBezTo>
                  <a:pt x="1579728" y="376618"/>
                  <a:pt x="1577206" y="377362"/>
                  <a:pt x="1574989" y="378822"/>
                </a:cubicBezTo>
                <a:cubicBezTo>
                  <a:pt x="1572771" y="380310"/>
                  <a:pt x="1571219" y="382321"/>
                  <a:pt x="1570360" y="384883"/>
                </a:cubicBezTo>
                <a:lnTo>
                  <a:pt x="1569861" y="384883"/>
                </a:lnTo>
                <a:lnTo>
                  <a:pt x="1569861" y="377307"/>
                </a:lnTo>
                <a:lnTo>
                  <a:pt x="1560853" y="377307"/>
                </a:lnTo>
                <a:lnTo>
                  <a:pt x="1560853" y="424913"/>
                </a:lnTo>
                <a:lnTo>
                  <a:pt x="1570194" y="424913"/>
                </a:lnTo>
                <a:lnTo>
                  <a:pt x="1570194" y="395875"/>
                </a:lnTo>
                <a:cubicBezTo>
                  <a:pt x="1570194" y="393809"/>
                  <a:pt x="1570693" y="391963"/>
                  <a:pt x="1571690" y="390338"/>
                </a:cubicBezTo>
                <a:cubicBezTo>
                  <a:pt x="1572688" y="388712"/>
                  <a:pt x="1574046" y="387445"/>
                  <a:pt x="1575765" y="386536"/>
                </a:cubicBezTo>
                <a:cubicBezTo>
                  <a:pt x="1577483" y="385627"/>
                  <a:pt x="1579451" y="385159"/>
                  <a:pt x="1581641" y="385159"/>
                </a:cubicBezTo>
                <a:cubicBezTo>
                  <a:pt x="1582583" y="385159"/>
                  <a:pt x="1583553" y="385241"/>
                  <a:pt x="1584496" y="385351"/>
                </a:cubicBezTo>
                <a:cubicBezTo>
                  <a:pt x="1585466" y="385489"/>
                  <a:pt x="1586131" y="385599"/>
                  <a:pt x="1586491" y="385710"/>
                </a:cubicBezTo>
                <a:lnTo>
                  <a:pt x="1586491" y="376838"/>
                </a:lnTo>
                <a:cubicBezTo>
                  <a:pt x="1586020" y="376783"/>
                  <a:pt x="1585410" y="376728"/>
                  <a:pt x="1584607" y="376673"/>
                </a:cubicBezTo>
                <a:cubicBezTo>
                  <a:pt x="1583803" y="376646"/>
                  <a:pt x="1583110" y="376618"/>
                  <a:pt x="1582528" y="376618"/>
                </a:cubicBezTo>
                <a:close/>
                <a:moveTo>
                  <a:pt x="1235146" y="376618"/>
                </a:moveTo>
                <a:cubicBezTo>
                  <a:pt x="1232346" y="376618"/>
                  <a:pt x="1229824" y="377362"/>
                  <a:pt x="1227607" y="378822"/>
                </a:cubicBezTo>
                <a:cubicBezTo>
                  <a:pt x="1225389" y="380310"/>
                  <a:pt x="1223837" y="382321"/>
                  <a:pt x="1222978" y="384883"/>
                </a:cubicBezTo>
                <a:lnTo>
                  <a:pt x="1222479" y="384883"/>
                </a:lnTo>
                <a:lnTo>
                  <a:pt x="1222479" y="377334"/>
                </a:lnTo>
                <a:lnTo>
                  <a:pt x="1213471" y="377334"/>
                </a:lnTo>
                <a:lnTo>
                  <a:pt x="1213471" y="424941"/>
                </a:lnTo>
                <a:lnTo>
                  <a:pt x="1222812" y="424941"/>
                </a:lnTo>
                <a:lnTo>
                  <a:pt x="1222812" y="395876"/>
                </a:lnTo>
                <a:cubicBezTo>
                  <a:pt x="1222812" y="393809"/>
                  <a:pt x="1223311" y="391963"/>
                  <a:pt x="1224308" y="390338"/>
                </a:cubicBezTo>
                <a:cubicBezTo>
                  <a:pt x="1225306" y="388713"/>
                  <a:pt x="1226664" y="387445"/>
                  <a:pt x="1228383" y="386536"/>
                </a:cubicBezTo>
                <a:cubicBezTo>
                  <a:pt x="1230101" y="385627"/>
                  <a:pt x="1232069" y="385159"/>
                  <a:pt x="1234259" y="385159"/>
                </a:cubicBezTo>
                <a:cubicBezTo>
                  <a:pt x="1235201" y="385159"/>
                  <a:pt x="1236171" y="385241"/>
                  <a:pt x="1237114" y="385351"/>
                </a:cubicBezTo>
                <a:cubicBezTo>
                  <a:pt x="1238084" y="385489"/>
                  <a:pt x="1238749" y="385599"/>
                  <a:pt x="1239109" y="385710"/>
                </a:cubicBezTo>
                <a:lnTo>
                  <a:pt x="1239109" y="376838"/>
                </a:lnTo>
                <a:cubicBezTo>
                  <a:pt x="1238638" y="376783"/>
                  <a:pt x="1238028" y="376728"/>
                  <a:pt x="1237224" y="376673"/>
                </a:cubicBezTo>
                <a:cubicBezTo>
                  <a:pt x="1236421" y="376618"/>
                  <a:pt x="1235728" y="376618"/>
                  <a:pt x="1235146" y="376618"/>
                </a:cubicBezTo>
                <a:close/>
                <a:moveTo>
                  <a:pt x="1481194" y="365956"/>
                </a:moveTo>
                <a:lnTo>
                  <a:pt x="1481194" y="377362"/>
                </a:lnTo>
                <a:lnTo>
                  <a:pt x="1474181" y="377362"/>
                </a:lnTo>
                <a:lnTo>
                  <a:pt x="1474181" y="384800"/>
                </a:lnTo>
                <a:lnTo>
                  <a:pt x="1481194" y="384800"/>
                </a:lnTo>
                <a:lnTo>
                  <a:pt x="1481194" y="412929"/>
                </a:lnTo>
                <a:cubicBezTo>
                  <a:pt x="1481194" y="415794"/>
                  <a:pt x="1481859" y="418191"/>
                  <a:pt x="1483161" y="420092"/>
                </a:cubicBezTo>
                <a:cubicBezTo>
                  <a:pt x="1484464" y="421993"/>
                  <a:pt x="1486183" y="423398"/>
                  <a:pt x="1488317" y="424307"/>
                </a:cubicBezTo>
                <a:cubicBezTo>
                  <a:pt x="1490423" y="425216"/>
                  <a:pt x="1492724" y="425657"/>
                  <a:pt x="1495191" y="425602"/>
                </a:cubicBezTo>
                <a:cubicBezTo>
                  <a:pt x="1496688" y="425574"/>
                  <a:pt x="1497935" y="425464"/>
                  <a:pt x="1498933" y="425243"/>
                </a:cubicBezTo>
                <a:cubicBezTo>
                  <a:pt x="1499930" y="425023"/>
                  <a:pt x="1500707" y="424803"/>
                  <a:pt x="1501233" y="424610"/>
                </a:cubicBezTo>
                <a:lnTo>
                  <a:pt x="1499542" y="416951"/>
                </a:lnTo>
                <a:cubicBezTo>
                  <a:pt x="1499237" y="416979"/>
                  <a:pt x="1498822" y="417061"/>
                  <a:pt x="1498240" y="417171"/>
                </a:cubicBezTo>
                <a:cubicBezTo>
                  <a:pt x="1497685" y="417282"/>
                  <a:pt x="1497020" y="417337"/>
                  <a:pt x="1496272" y="417337"/>
                </a:cubicBezTo>
                <a:cubicBezTo>
                  <a:pt x="1495246" y="417337"/>
                  <a:pt x="1494304" y="417171"/>
                  <a:pt x="1493445" y="416868"/>
                </a:cubicBezTo>
                <a:cubicBezTo>
                  <a:pt x="1492585" y="416538"/>
                  <a:pt x="1491892" y="415932"/>
                  <a:pt x="1491338" y="415050"/>
                </a:cubicBezTo>
                <a:cubicBezTo>
                  <a:pt x="1490812" y="414141"/>
                  <a:pt x="1490534" y="412791"/>
                  <a:pt x="1490534" y="411000"/>
                </a:cubicBezTo>
                <a:lnTo>
                  <a:pt x="1490534" y="384800"/>
                </a:lnTo>
                <a:lnTo>
                  <a:pt x="1500346" y="384800"/>
                </a:lnTo>
                <a:lnTo>
                  <a:pt x="1500346" y="377362"/>
                </a:lnTo>
                <a:lnTo>
                  <a:pt x="1490534" y="377362"/>
                </a:lnTo>
                <a:lnTo>
                  <a:pt x="1490534" y="365956"/>
                </a:lnTo>
                <a:close/>
                <a:moveTo>
                  <a:pt x="1449264" y="365956"/>
                </a:moveTo>
                <a:lnTo>
                  <a:pt x="1449264" y="377362"/>
                </a:lnTo>
                <a:lnTo>
                  <a:pt x="1442251" y="377362"/>
                </a:lnTo>
                <a:lnTo>
                  <a:pt x="1442251" y="384800"/>
                </a:lnTo>
                <a:lnTo>
                  <a:pt x="1449264" y="384800"/>
                </a:lnTo>
                <a:lnTo>
                  <a:pt x="1449264" y="412929"/>
                </a:lnTo>
                <a:cubicBezTo>
                  <a:pt x="1449264" y="415794"/>
                  <a:pt x="1449929" y="418191"/>
                  <a:pt x="1451232" y="420092"/>
                </a:cubicBezTo>
                <a:cubicBezTo>
                  <a:pt x="1452534" y="421993"/>
                  <a:pt x="1454253" y="423398"/>
                  <a:pt x="1456387" y="424307"/>
                </a:cubicBezTo>
                <a:cubicBezTo>
                  <a:pt x="1458493" y="425216"/>
                  <a:pt x="1460794" y="425657"/>
                  <a:pt x="1463261" y="425602"/>
                </a:cubicBezTo>
                <a:cubicBezTo>
                  <a:pt x="1464758" y="425574"/>
                  <a:pt x="1466005" y="425464"/>
                  <a:pt x="1467003" y="425243"/>
                </a:cubicBezTo>
                <a:cubicBezTo>
                  <a:pt x="1468001" y="425023"/>
                  <a:pt x="1468777" y="424803"/>
                  <a:pt x="1469303" y="424610"/>
                </a:cubicBezTo>
                <a:lnTo>
                  <a:pt x="1467612" y="416951"/>
                </a:lnTo>
                <a:cubicBezTo>
                  <a:pt x="1467308" y="416979"/>
                  <a:pt x="1466864" y="417061"/>
                  <a:pt x="1466310" y="417171"/>
                </a:cubicBezTo>
                <a:cubicBezTo>
                  <a:pt x="1465755" y="417282"/>
                  <a:pt x="1465090" y="417337"/>
                  <a:pt x="1464342" y="417337"/>
                </a:cubicBezTo>
                <a:cubicBezTo>
                  <a:pt x="1463316" y="417337"/>
                  <a:pt x="1462374" y="417171"/>
                  <a:pt x="1461515" y="416868"/>
                </a:cubicBezTo>
                <a:cubicBezTo>
                  <a:pt x="1460655" y="416538"/>
                  <a:pt x="1459963" y="415932"/>
                  <a:pt x="1459408" y="415050"/>
                </a:cubicBezTo>
                <a:cubicBezTo>
                  <a:pt x="1458882" y="414141"/>
                  <a:pt x="1458604" y="412791"/>
                  <a:pt x="1458604" y="411000"/>
                </a:cubicBezTo>
                <a:lnTo>
                  <a:pt x="1458604" y="384800"/>
                </a:lnTo>
                <a:lnTo>
                  <a:pt x="1468416" y="384800"/>
                </a:lnTo>
                <a:lnTo>
                  <a:pt x="1468416" y="377362"/>
                </a:lnTo>
                <a:lnTo>
                  <a:pt x="1458604" y="377362"/>
                </a:lnTo>
                <a:lnTo>
                  <a:pt x="1458604" y="365956"/>
                </a:lnTo>
                <a:close/>
                <a:moveTo>
                  <a:pt x="1341692" y="361466"/>
                </a:moveTo>
                <a:lnTo>
                  <a:pt x="1341692" y="424941"/>
                </a:lnTo>
                <a:lnTo>
                  <a:pt x="1350783" y="424941"/>
                </a:lnTo>
                <a:lnTo>
                  <a:pt x="1350783" y="417530"/>
                </a:lnTo>
                <a:lnTo>
                  <a:pt x="1351560" y="417530"/>
                </a:lnTo>
                <a:cubicBezTo>
                  <a:pt x="1352114" y="418550"/>
                  <a:pt x="1352918" y="419707"/>
                  <a:pt x="1353971" y="421002"/>
                </a:cubicBezTo>
                <a:cubicBezTo>
                  <a:pt x="1354997" y="422297"/>
                  <a:pt x="1356466" y="423454"/>
                  <a:pt x="1358295" y="424418"/>
                </a:cubicBezTo>
                <a:cubicBezTo>
                  <a:pt x="1360124" y="425382"/>
                  <a:pt x="1362508" y="425878"/>
                  <a:pt x="1365418" y="425878"/>
                </a:cubicBezTo>
                <a:cubicBezTo>
                  <a:pt x="1369271" y="425878"/>
                  <a:pt x="1372736" y="424886"/>
                  <a:pt x="1375757" y="422930"/>
                </a:cubicBezTo>
                <a:cubicBezTo>
                  <a:pt x="1378778" y="420947"/>
                  <a:pt x="1381134" y="418136"/>
                  <a:pt x="1382881" y="414472"/>
                </a:cubicBezTo>
                <a:cubicBezTo>
                  <a:pt x="1384599" y="410808"/>
                  <a:pt x="1385458" y="406400"/>
                  <a:pt x="1385458" y="401248"/>
                </a:cubicBezTo>
                <a:cubicBezTo>
                  <a:pt x="1385458" y="396096"/>
                  <a:pt x="1384599" y="391688"/>
                  <a:pt x="1382853" y="388052"/>
                </a:cubicBezTo>
                <a:cubicBezTo>
                  <a:pt x="1381107" y="384388"/>
                  <a:pt x="1378723" y="381578"/>
                  <a:pt x="1375674" y="379621"/>
                </a:cubicBezTo>
                <a:cubicBezTo>
                  <a:pt x="1372653" y="377693"/>
                  <a:pt x="1369188" y="376701"/>
                  <a:pt x="1365335" y="376701"/>
                </a:cubicBezTo>
                <a:cubicBezTo>
                  <a:pt x="1362369" y="376701"/>
                  <a:pt x="1359958" y="377197"/>
                  <a:pt x="1358156" y="378161"/>
                </a:cubicBezTo>
                <a:cubicBezTo>
                  <a:pt x="1356327" y="379153"/>
                  <a:pt x="1354913" y="380283"/>
                  <a:pt x="1353916" y="381578"/>
                </a:cubicBezTo>
                <a:cubicBezTo>
                  <a:pt x="1352890" y="382872"/>
                  <a:pt x="1352114" y="384030"/>
                  <a:pt x="1351560" y="385021"/>
                </a:cubicBezTo>
                <a:lnTo>
                  <a:pt x="1351005" y="385021"/>
                </a:lnTo>
                <a:lnTo>
                  <a:pt x="1351005" y="361466"/>
                </a:lnTo>
                <a:close/>
                <a:moveTo>
                  <a:pt x="1146949" y="358490"/>
                </a:moveTo>
                <a:cubicBezTo>
                  <a:pt x="1144427" y="358490"/>
                  <a:pt x="1142071" y="358986"/>
                  <a:pt x="1139909" y="359978"/>
                </a:cubicBezTo>
                <a:cubicBezTo>
                  <a:pt x="1137747" y="360970"/>
                  <a:pt x="1136001" y="362430"/>
                  <a:pt x="1134698" y="364413"/>
                </a:cubicBezTo>
                <a:cubicBezTo>
                  <a:pt x="1133396" y="366397"/>
                  <a:pt x="1132730" y="368849"/>
                  <a:pt x="1132730" y="371824"/>
                </a:cubicBezTo>
                <a:lnTo>
                  <a:pt x="1132730" y="377334"/>
                </a:lnTo>
                <a:lnTo>
                  <a:pt x="1125302" y="377334"/>
                </a:lnTo>
                <a:lnTo>
                  <a:pt x="1125302" y="384773"/>
                </a:lnTo>
                <a:lnTo>
                  <a:pt x="1132730" y="384773"/>
                </a:lnTo>
                <a:lnTo>
                  <a:pt x="1132730" y="424968"/>
                </a:lnTo>
                <a:lnTo>
                  <a:pt x="1142043" y="424968"/>
                </a:lnTo>
                <a:lnTo>
                  <a:pt x="1142043" y="384773"/>
                </a:lnTo>
                <a:lnTo>
                  <a:pt x="1152382" y="384773"/>
                </a:lnTo>
                <a:lnTo>
                  <a:pt x="1152382" y="377334"/>
                </a:lnTo>
                <a:lnTo>
                  <a:pt x="1142043" y="377334"/>
                </a:lnTo>
                <a:lnTo>
                  <a:pt x="1142043" y="373064"/>
                </a:lnTo>
                <a:cubicBezTo>
                  <a:pt x="1142043" y="370943"/>
                  <a:pt x="1142542" y="369345"/>
                  <a:pt x="1143485" y="368215"/>
                </a:cubicBezTo>
                <a:cubicBezTo>
                  <a:pt x="1144455" y="367113"/>
                  <a:pt x="1146062" y="366535"/>
                  <a:pt x="1148335" y="366535"/>
                </a:cubicBezTo>
                <a:cubicBezTo>
                  <a:pt x="1149305" y="366535"/>
                  <a:pt x="1150137" y="366617"/>
                  <a:pt x="1150830" y="366810"/>
                </a:cubicBezTo>
                <a:cubicBezTo>
                  <a:pt x="1151523" y="366975"/>
                  <a:pt x="1152077" y="367141"/>
                  <a:pt x="1152520" y="367251"/>
                </a:cubicBezTo>
                <a:lnTo>
                  <a:pt x="1154710" y="359757"/>
                </a:lnTo>
                <a:cubicBezTo>
                  <a:pt x="1154072" y="359509"/>
                  <a:pt x="1153075" y="359234"/>
                  <a:pt x="1151744" y="358931"/>
                </a:cubicBezTo>
                <a:cubicBezTo>
                  <a:pt x="1150414" y="358628"/>
                  <a:pt x="1148806" y="358490"/>
                  <a:pt x="1146949" y="358490"/>
                </a:cubicBezTo>
                <a:close/>
                <a:moveTo>
                  <a:pt x="1594752" y="295704"/>
                </a:moveTo>
                <a:cubicBezTo>
                  <a:pt x="1597468" y="295704"/>
                  <a:pt x="1599769" y="296393"/>
                  <a:pt x="1601626" y="297770"/>
                </a:cubicBezTo>
                <a:cubicBezTo>
                  <a:pt x="1603483" y="299148"/>
                  <a:pt x="1604869" y="301049"/>
                  <a:pt x="1605839" y="303501"/>
                </a:cubicBezTo>
                <a:cubicBezTo>
                  <a:pt x="1606781" y="305952"/>
                  <a:pt x="1607280" y="308763"/>
                  <a:pt x="1607280" y="311958"/>
                </a:cubicBezTo>
                <a:cubicBezTo>
                  <a:pt x="1607252" y="315209"/>
                  <a:pt x="1606781" y="318019"/>
                  <a:pt x="1605811" y="320361"/>
                </a:cubicBezTo>
                <a:cubicBezTo>
                  <a:pt x="1604841" y="322703"/>
                  <a:pt x="1603427" y="324494"/>
                  <a:pt x="1601570" y="325761"/>
                </a:cubicBezTo>
                <a:cubicBezTo>
                  <a:pt x="1599713" y="327001"/>
                  <a:pt x="1597440" y="327634"/>
                  <a:pt x="1594752" y="327634"/>
                </a:cubicBezTo>
                <a:cubicBezTo>
                  <a:pt x="1591980" y="327634"/>
                  <a:pt x="1589652" y="326973"/>
                  <a:pt x="1587795" y="325651"/>
                </a:cubicBezTo>
                <a:cubicBezTo>
                  <a:pt x="1585938" y="324328"/>
                  <a:pt x="1584496" y="322482"/>
                  <a:pt x="1583554" y="320141"/>
                </a:cubicBezTo>
                <a:cubicBezTo>
                  <a:pt x="1582584" y="317771"/>
                  <a:pt x="1582112" y="315044"/>
                  <a:pt x="1582112" y="311931"/>
                </a:cubicBezTo>
                <a:cubicBezTo>
                  <a:pt x="1582112" y="308900"/>
                  <a:pt x="1582584" y="306145"/>
                  <a:pt x="1583526" y="303693"/>
                </a:cubicBezTo>
                <a:cubicBezTo>
                  <a:pt x="1584468" y="301241"/>
                  <a:pt x="1585882" y="299285"/>
                  <a:pt x="1587739" y="297853"/>
                </a:cubicBezTo>
                <a:cubicBezTo>
                  <a:pt x="1589596" y="296420"/>
                  <a:pt x="1591952" y="295704"/>
                  <a:pt x="1594752" y="295704"/>
                </a:cubicBezTo>
                <a:close/>
                <a:moveTo>
                  <a:pt x="1254992" y="295704"/>
                </a:moveTo>
                <a:cubicBezTo>
                  <a:pt x="1257708" y="295704"/>
                  <a:pt x="1260009" y="296393"/>
                  <a:pt x="1261866" y="297770"/>
                </a:cubicBezTo>
                <a:cubicBezTo>
                  <a:pt x="1263723" y="299148"/>
                  <a:pt x="1265109" y="301049"/>
                  <a:pt x="1266079" y="303501"/>
                </a:cubicBezTo>
                <a:cubicBezTo>
                  <a:pt x="1267021" y="305952"/>
                  <a:pt x="1267520" y="308763"/>
                  <a:pt x="1267520" y="311958"/>
                </a:cubicBezTo>
                <a:cubicBezTo>
                  <a:pt x="1267492" y="315209"/>
                  <a:pt x="1267021" y="318019"/>
                  <a:pt x="1266051" y="320361"/>
                </a:cubicBezTo>
                <a:cubicBezTo>
                  <a:pt x="1265081" y="322703"/>
                  <a:pt x="1263667" y="324494"/>
                  <a:pt x="1261810" y="325761"/>
                </a:cubicBezTo>
                <a:cubicBezTo>
                  <a:pt x="1259953" y="327001"/>
                  <a:pt x="1257680" y="327634"/>
                  <a:pt x="1254992" y="327634"/>
                </a:cubicBezTo>
                <a:cubicBezTo>
                  <a:pt x="1252220" y="327634"/>
                  <a:pt x="1249892" y="326973"/>
                  <a:pt x="1248035" y="325651"/>
                </a:cubicBezTo>
                <a:cubicBezTo>
                  <a:pt x="1246150" y="324328"/>
                  <a:pt x="1244736" y="322482"/>
                  <a:pt x="1243794" y="320141"/>
                </a:cubicBezTo>
                <a:cubicBezTo>
                  <a:pt x="1242824" y="317771"/>
                  <a:pt x="1242353" y="315044"/>
                  <a:pt x="1242353" y="311931"/>
                </a:cubicBezTo>
                <a:cubicBezTo>
                  <a:pt x="1242353" y="308900"/>
                  <a:pt x="1242824" y="306145"/>
                  <a:pt x="1243766" y="303693"/>
                </a:cubicBezTo>
                <a:cubicBezTo>
                  <a:pt x="1244709" y="301241"/>
                  <a:pt x="1246122" y="299285"/>
                  <a:pt x="1247979" y="297853"/>
                </a:cubicBezTo>
                <a:cubicBezTo>
                  <a:pt x="1249836" y="296420"/>
                  <a:pt x="1252192" y="295704"/>
                  <a:pt x="1254992" y="295704"/>
                </a:cubicBezTo>
                <a:close/>
                <a:moveTo>
                  <a:pt x="1435155" y="295456"/>
                </a:moveTo>
                <a:cubicBezTo>
                  <a:pt x="1437566" y="295456"/>
                  <a:pt x="1439673" y="296007"/>
                  <a:pt x="1441474" y="297109"/>
                </a:cubicBezTo>
                <a:cubicBezTo>
                  <a:pt x="1443276" y="298211"/>
                  <a:pt x="1444662" y="299699"/>
                  <a:pt x="1445660" y="301599"/>
                </a:cubicBezTo>
                <a:cubicBezTo>
                  <a:pt x="1446658" y="303500"/>
                  <a:pt x="1447156" y="305649"/>
                  <a:pt x="1447156" y="308101"/>
                </a:cubicBezTo>
                <a:lnTo>
                  <a:pt x="1422349" y="308101"/>
                </a:lnTo>
                <a:cubicBezTo>
                  <a:pt x="1422460" y="306035"/>
                  <a:pt x="1422904" y="304107"/>
                  <a:pt x="1423818" y="302316"/>
                </a:cubicBezTo>
                <a:cubicBezTo>
                  <a:pt x="1424872" y="300277"/>
                  <a:pt x="1426368" y="298624"/>
                  <a:pt x="1428309" y="297357"/>
                </a:cubicBezTo>
                <a:cubicBezTo>
                  <a:pt x="1430249" y="296089"/>
                  <a:pt x="1432522" y="295456"/>
                  <a:pt x="1435155" y="295456"/>
                </a:cubicBezTo>
                <a:close/>
                <a:moveTo>
                  <a:pt x="1383573" y="295456"/>
                </a:moveTo>
                <a:cubicBezTo>
                  <a:pt x="1385985" y="295456"/>
                  <a:pt x="1388091" y="296007"/>
                  <a:pt x="1389893" y="297109"/>
                </a:cubicBezTo>
                <a:cubicBezTo>
                  <a:pt x="1391694" y="298211"/>
                  <a:pt x="1393080" y="299699"/>
                  <a:pt x="1394078" y="301599"/>
                </a:cubicBezTo>
                <a:cubicBezTo>
                  <a:pt x="1395076" y="303500"/>
                  <a:pt x="1395575" y="305649"/>
                  <a:pt x="1395575" y="308101"/>
                </a:cubicBezTo>
                <a:lnTo>
                  <a:pt x="1370768" y="308101"/>
                </a:lnTo>
                <a:cubicBezTo>
                  <a:pt x="1370878" y="306035"/>
                  <a:pt x="1371322" y="304107"/>
                  <a:pt x="1372237" y="302316"/>
                </a:cubicBezTo>
                <a:cubicBezTo>
                  <a:pt x="1373290" y="300277"/>
                  <a:pt x="1374787" y="298624"/>
                  <a:pt x="1376727" y="297357"/>
                </a:cubicBezTo>
                <a:cubicBezTo>
                  <a:pt x="1378667" y="296089"/>
                  <a:pt x="1380940" y="295456"/>
                  <a:pt x="1383573" y="295456"/>
                </a:cubicBezTo>
                <a:close/>
                <a:moveTo>
                  <a:pt x="1500429" y="288403"/>
                </a:moveTo>
                <a:lnTo>
                  <a:pt x="1500429" y="336009"/>
                </a:lnTo>
                <a:lnTo>
                  <a:pt x="1509770" y="336009"/>
                </a:lnTo>
                <a:lnTo>
                  <a:pt x="1509770" y="288403"/>
                </a:lnTo>
                <a:close/>
                <a:moveTo>
                  <a:pt x="1289195" y="288403"/>
                </a:moveTo>
                <a:lnTo>
                  <a:pt x="1289195" y="336009"/>
                </a:lnTo>
                <a:lnTo>
                  <a:pt x="1298536" y="336009"/>
                </a:lnTo>
                <a:lnTo>
                  <a:pt x="1298536" y="288403"/>
                </a:lnTo>
                <a:close/>
                <a:moveTo>
                  <a:pt x="1435099" y="287852"/>
                </a:moveTo>
                <a:cubicBezTo>
                  <a:pt x="1430665" y="287852"/>
                  <a:pt x="1426784" y="288899"/>
                  <a:pt x="1423458" y="290993"/>
                </a:cubicBezTo>
                <a:cubicBezTo>
                  <a:pt x="1420132" y="293087"/>
                  <a:pt x="1417554" y="295979"/>
                  <a:pt x="1415725" y="299699"/>
                </a:cubicBezTo>
                <a:cubicBezTo>
                  <a:pt x="1413895" y="303418"/>
                  <a:pt x="1412953" y="307716"/>
                  <a:pt x="1412953" y="312592"/>
                </a:cubicBezTo>
                <a:cubicBezTo>
                  <a:pt x="1412953" y="317523"/>
                  <a:pt x="1413868" y="321849"/>
                  <a:pt x="1415725" y="325513"/>
                </a:cubicBezTo>
                <a:cubicBezTo>
                  <a:pt x="1417554" y="329122"/>
                  <a:pt x="1420187" y="331960"/>
                  <a:pt x="1423569" y="333971"/>
                </a:cubicBezTo>
                <a:cubicBezTo>
                  <a:pt x="1426978" y="335982"/>
                  <a:pt x="1431025" y="337001"/>
                  <a:pt x="1435765" y="337001"/>
                </a:cubicBezTo>
                <a:cubicBezTo>
                  <a:pt x="1439257" y="337001"/>
                  <a:pt x="1442361" y="336478"/>
                  <a:pt x="1445105" y="335403"/>
                </a:cubicBezTo>
                <a:cubicBezTo>
                  <a:pt x="1447849" y="334329"/>
                  <a:pt x="1450122" y="332841"/>
                  <a:pt x="1451924" y="330913"/>
                </a:cubicBezTo>
                <a:cubicBezTo>
                  <a:pt x="1453753" y="328984"/>
                  <a:pt x="1455000" y="326725"/>
                  <a:pt x="1455721" y="324135"/>
                </a:cubicBezTo>
                <a:lnTo>
                  <a:pt x="1446907" y="322565"/>
                </a:lnTo>
                <a:cubicBezTo>
                  <a:pt x="1446353" y="324053"/>
                  <a:pt x="1445521" y="325292"/>
                  <a:pt x="1444468" y="326312"/>
                </a:cubicBezTo>
                <a:cubicBezTo>
                  <a:pt x="1443415" y="327331"/>
                  <a:pt x="1442140" y="328075"/>
                  <a:pt x="1440698" y="328598"/>
                </a:cubicBezTo>
                <a:cubicBezTo>
                  <a:pt x="1439229" y="329094"/>
                  <a:pt x="1437622" y="329370"/>
                  <a:pt x="1435875" y="329370"/>
                </a:cubicBezTo>
                <a:cubicBezTo>
                  <a:pt x="1433159" y="329370"/>
                  <a:pt x="1430775" y="328791"/>
                  <a:pt x="1428724" y="327607"/>
                </a:cubicBezTo>
                <a:cubicBezTo>
                  <a:pt x="1426701" y="326450"/>
                  <a:pt x="1425093" y="324741"/>
                  <a:pt x="1423985" y="322510"/>
                </a:cubicBezTo>
                <a:cubicBezTo>
                  <a:pt x="1422931" y="320444"/>
                  <a:pt x="1422432" y="317937"/>
                  <a:pt x="1422349" y="315044"/>
                </a:cubicBezTo>
                <a:lnTo>
                  <a:pt x="1456303" y="315044"/>
                </a:lnTo>
                <a:lnTo>
                  <a:pt x="1456303" y="311765"/>
                </a:lnTo>
                <a:cubicBezTo>
                  <a:pt x="1456303" y="307440"/>
                  <a:pt x="1455721" y="303776"/>
                  <a:pt x="1454557" y="300745"/>
                </a:cubicBezTo>
                <a:cubicBezTo>
                  <a:pt x="1453393" y="297715"/>
                  <a:pt x="1451813" y="295263"/>
                  <a:pt x="1449789" y="293362"/>
                </a:cubicBezTo>
                <a:cubicBezTo>
                  <a:pt x="1447766" y="291461"/>
                  <a:pt x="1445493" y="290056"/>
                  <a:pt x="1442971" y="289174"/>
                </a:cubicBezTo>
                <a:cubicBezTo>
                  <a:pt x="1440421" y="288293"/>
                  <a:pt x="1437816" y="287852"/>
                  <a:pt x="1435099" y="287852"/>
                </a:cubicBezTo>
                <a:close/>
                <a:moveTo>
                  <a:pt x="1383545" y="287852"/>
                </a:moveTo>
                <a:cubicBezTo>
                  <a:pt x="1379110" y="287852"/>
                  <a:pt x="1375230" y="288899"/>
                  <a:pt x="1371904" y="290993"/>
                </a:cubicBezTo>
                <a:cubicBezTo>
                  <a:pt x="1368578" y="293087"/>
                  <a:pt x="1366000" y="295979"/>
                  <a:pt x="1364171" y="299699"/>
                </a:cubicBezTo>
                <a:cubicBezTo>
                  <a:pt x="1362341" y="303418"/>
                  <a:pt x="1361399" y="307716"/>
                  <a:pt x="1361399" y="312592"/>
                </a:cubicBezTo>
                <a:cubicBezTo>
                  <a:pt x="1361399" y="317523"/>
                  <a:pt x="1362314" y="321849"/>
                  <a:pt x="1364171" y="325513"/>
                </a:cubicBezTo>
                <a:cubicBezTo>
                  <a:pt x="1365972" y="329122"/>
                  <a:pt x="1368606" y="331960"/>
                  <a:pt x="1371987" y="333971"/>
                </a:cubicBezTo>
                <a:cubicBezTo>
                  <a:pt x="1375396" y="335982"/>
                  <a:pt x="1379443" y="337001"/>
                  <a:pt x="1384183" y="337001"/>
                </a:cubicBezTo>
                <a:cubicBezTo>
                  <a:pt x="1387675" y="337001"/>
                  <a:pt x="1390780" y="336478"/>
                  <a:pt x="1393524" y="335403"/>
                </a:cubicBezTo>
                <a:cubicBezTo>
                  <a:pt x="1396268" y="334329"/>
                  <a:pt x="1398540" y="332841"/>
                  <a:pt x="1400342" y="330913"/>
                </a:cubicBezTo>
                <a:cubicBezTo>
                  <a:pt x="1402171" y="328984"/>
                  <a:pt x="1403419" y="326725"/>
                  <a:pt x="1404139" y="324135"/>
                </a:cubicBezTo>
                <a:lnTo>
                  <a:pt x="1395325" y="322565"/>
                </a:lnTo>
                <a:cubicBezTo>
                  <a:pt x="1394771" y="324053"/>
                  <a:pt x="1393939" y="325292"/>
                  <a:pt x="1392886" y="326312"/>
                </a:cubicBezTo>
                <a:cubicBezTo>
                  <a:pt x="1391833" y="327331"/>
                  <a:pt x="1390558" y="328075"/>
                  <a:pt x="1389116" y="328598"/>
                </a:cubicBezTo>
                <a:cubicBezTo>
                  <a:pt x="1387648" y="329094"/>
                  <a:pt x="1386040" y="329370"/>
                  <a:pt x="1384294" y="329370"/>
                </a:cubicBezTo>
                <a:cubicBezTo>
                  <a:pt x="1381577" y="329370"/>
                  <a:pt x="1379194" y="328791"/>
                  <a:pt x="1377143" y="327607"/>
                </a:cubicBezTo>
                <a:cubicBezTo>
                  <a:pt x="1375119" y="326450"/>
                  <a:pt x="1373512" y="324741"/>
                  <a:pt x="1372403" y="322510"/>
                </a:cubicBezTo>
                <a:cubicBezTo>
                  <a:pt x="1371350" y="320444"/>
                  <a:pt x="1370851" y="317937"/>
                  <a:pt x="1370768" y="315044"/>
                </a:cubicBezTo>
                <a:lnTo>
                  <a:pt x="1404749" y="315044"/>
                </a:lnTo>
                <a:lnTo>
                  <a:pt x="1404749" y="311765"/>
                </a:lnTo>
                <a:cubicBezTo>
                  <a:pt x="1404749" y="307440"/>
                  <a:pt x="1404167" y="303776"/>
                  <a:pt x="1403003" y="300745"/>
                </a:cubicBezTo>
                <a:cubicBezTo>
                  <a:pt x="1401839" y="297715"/>
                  <a:pt x="1400259" y="295263"/>
                  <a:pt x="1398235" y="293362"/>
                </a:cubicBezTo>
                <a:cubicBezTo>
                  <a:pt x="1396212" y="291461"/>
                  <a:pt x="1393939" y="290056"/>
                  <a:pt x="1391417" y="289174"/>
                </a:cubicBezTo>
                <a:cubicBezTo>
                  <a:pt x="1388867" y="288293"/>
                  <a:pt x="1386262" y="287852"/>
                  <a:pt x="1383545" y="287852"/>
                </a:cubicBezTo>
                <a:close/>
                <a:moveTo>
                  <a:pt x="1592728" y="287797"/>
                </a:moveTo>
                <a:cubicBezTo>
                  <a:pt x="1588876" y="287797"/>
                  <a:pt x="1585439" y="288761"/>
                  <a:pt x="1582390" y="290690"/>
                </a:cubicBezTo>
                <a:cubicBezTo>
                  <a:pt x="1579341" y="292618"/>
                  <a:pt x="1576957" y="295401"/>
                  <a:pt x="1575239" y="299010"/>
                </a:cubicBezTo>
                <a:cubicBezTo>
                  <a:pt x="1573492" y="302619"/>
                  <a:pt x="1572633" y="306972"/>
                  <a:pt x="1572633" y="312041"/>
                </a:cubicBezTo>
                <a:cubicBezTo>
                  <a:pt x="1572633" y="317110"/>
                  <a:pt x="1573520" y="321380"/>
                  <a:pt x="1575266" y="324824"/>
                </a:cubicBezTo>
                <a:cubicBezTo>
                  <a:pt x="1577012" y="328295"/>
                  <a:pt x="1579424" y="330913"/>
                  <a:pt x="1582445" y="332676"/>
                </a:cubicBezTo>
                <a:cubicBezTo>
                  <a:pt x="1585466" y="334439"/>
                  <a:pt x="1588876" y="335321"/>
                  <a:pt x="1592645" y="335321"/>
                </a:cubicBezTo>
                <a:cubicBezTo>
                  <a:pt x="1595583" y="335321"/>
                  <a:pt x="1597967" y="334852"/>
                  <a:pt x="1599796" y="333943"/>
                </a:cubicBezTo>
                <a:cubicBezTo>
                  <a:pt x="1601626" y="333034"/>
                  <a:pt x="1603067" y="331960"/>
                  <a:pt x="1604120" y="330720"/>
                </a:cubicBezTo>
                <a:cubicBezTo>
                  <a:pt x="1605173" y="329480"/>
                  <a:pt x="1605977" y="328351"/>
                  <a:pt x="1606532" y="327331"/>
                </a:cubicBezTo>
                <a:lnTo>
                  <a:pt x="1607114" y="327331"/>
                </a:lnTo>
                <a:lnTo>
                  <a:pt x="1607114" y="336698"/>
                </a:lnTo>
                <a:cubicBezTo>
                  <a:pt x="1607114" y="340390"/>
                  <a:pt x="1605950" y="343062"/>
                  <a:pt x="1603649" y="344770"/>
                </a:cubicBezTo>
                <a:cubicBezTo>
                  <a:pt x="1601349" y="346478"/>
                  <a:pt x="1598410" y="347305"/>
                  <a:pt x="1594890" y="347305"/>
                </a:cubicBezTo>
                <a:cubicBezTo>
                  <a:pt x="1592313" y="347305"/>
                  <a:pt x="1590206" y="346947"/>
                  <a:pt x="1588571" y="346231"/>
                </a:cubicBezTo>
                <a:cubicBezTo>
                  <a:pt x="1586935" y="345514"/>
                  <a:pt x="1585660" y="344633"/>
                  <a:pt x="1584718" y="343613"/>
                </a:cubicBezTo>
                <a:cubicBezTo>
                  <a:pt x="1583776" y="342594"/>
                  <a:pt x="1583027" y="341657"/>
                  <a:pt x="1582445" y="340803"/>
                </a:cubicBezTo>
                <a:lnTo>
                  <a:pt x="1574435" y="344082"/>
                </a:lnTo>
                <a:cubicBezTo>
                  <a:pt x="1575266" y="345983"/>
                  <a:pt x="1576569" y="347746"/>
                  <a:pt x="1578287" y="349371"/>
                </a:cubicBezTo>
                <a:cubicBezTo>
                  <a:pt x="1580006" y="350997"/>
                  <a:pt x="1582251" y="352292"/>
                  <a:pt x="1584967" y="353283"/>
                </a:cubicBezTo>
                <a:cubicBezTo>
                  <a:pt x="1587712" y="354275"/>
                  <a:pt x="1590982" y="354771"/>
                  <a:pt x="1594779" y="354771"/>
                </a:cubicBezTo>
                <a:cubicBezTo>
                  <a:pt x="1598854" y="354771"/>
                  <a:pt x="1602513" y="354137"/>
                  <a:pt x="1605756" y="352870"/>
                </a:cubicBezTo>
                <a:cubicBezTo>
                  <a:pt x="1608999" y="351603"/>
                  <a:pt x="1611604" y="349674"/>
                  <a:pt x="1613517" y="347057"/>
                </a:cubicBezTo>
                <a:cubicBezTo>
                  <a:pt x="1615429" y="344440"/>
                  <a:pt x="1616399" y="341106"/>
                  <a:pt x="1616399" y="337056"/>
                </a:cubicBezTo>
                <a:lnTo>
                  <a:pt x="1616399" y="288403"/>
                </a:lnTo>
                <a:lnTo>
                  <a:pt x="1607308" y="288403"/>
                </a:lnTo>
                <a:lnTo>
                  <a:pt x="1607308" y="296117"/>
                </a:lnTo>
                <a:lnTo>
                  <a:pt x="1606615" y="296117"/>
                </a:lnTo>
                <a:cubicBezTo>
                  <a:pt x="1606061" y="295125"/>
                  <a:pt x="1605257" y="293968"/>
                  <a:pt x="1604231" y="292673"/>
                </a:cubicBezTo>
                <a:cubicBezTo>
                  <a:pt x="1603206" y="291379"/>
                  <a:pt x="1601764" y="290221"/>
                  <a:pt x="1599935" y="289257"/>
                </a:cubicBezTo>
                <a:cubicBezTo>
                  <a:pt x="1598106" y="288265"/>
                  <a:pt x="1595694" y="287797"/>
                  <a:pt x="1592728" y="287797"/>
                </a:cubicBezTo>
                <a:close/>
                <a:moveTo>
                  <a:pt x="1252996" y="287797"/>
                </a:moveTo>
                <a:cubicBezTo>
                  <a:pt x="1249143" y="287797"/>
                  <a:pt x="1245706" y="288761"/>
                  <a:pt x="1242658" y="290690"/>
                </a:cubicBezTo>
                <a:cubicBezTo>
                  <a:pt x="1239609" y="292618"/>
                  <a:pt x="1237225" y="295401"/>
                  <a:pt x="1235506" y="299010"/>
                </a:cubicBezTo>
                <a:cubicBezTo>
                  <a:pt x="1233760" y="302619"/>
                  <a:pt x="1232901" y="306972"/>
                  <a:pt x="1232901" y="312041"/>
                </a:cubicBezTo>
                <a:cubicBezTo>
                  <a:pt x="1232901" y="317110"/>
                  <a:pt x="1233788" y="321380"/>
                  <a:pt x="1235534" y="324824"/>
                </a:cubicBezTo>
                <a:cubicBezTo>
                  <a:pt x="1237280" y="328295"/>
                  <a:pt x="1239692" y="330913"/>
                  <a:pt x="1242713" y="332676"/>
                </a:cubicBezTo>
                <a:cubicBezTo>
                  <a:pt x="1245734" y="334439"/>
                  <a:pt x="1249143" y="335321"/>
                  <a:pt x="1252913" y="335321"/>
                </a:cubicBezTo>
                <a:cubicBezTo>
                  <a:pt x="1255851" y="335321"/>
                  <a:pt x="1258235" y="334852"/>
                  <a:pt x="1260064" y="333943"/>
                </a:cubicBezTo>
                <a:cubicBezTo>
                  <a:pt x="1261893" y="333034"/>
                  <a:pt x="1263335" y="331960"/>
                  <a:pt x="1264388" y="330720"/>
                </a:cubicBezTo>
                <a:cubicBezTo>
                  <a:pt x="1265441" y="329480"/>
                  <a:pt x="1266245" y="328351"/>
                  <a:pt x="1266799" y="327331"/>
                </a:cubicBezTo>
                <a:lnTo>
                  <a:pt x="1267381" y="327331"/>
                </a:lnTo>
                <a:lnTo>
                  <a:pt x="1267381" y="336698"/>
                </a:lnTo>
                <a:cubicBezTo>
                  <a:pt x="1267381" y="340390"/>
                  <a:pt x="1266217" y="343062"/>
                  <a:pt x="1263917" y="344770"/>
                </a:cubicBezTo>
                <a:cubicBezTo>
                  <a:pt x="1261616" y="346478"/>
                  <a:pt x="1258678" y="347305"/>
                  <a:pt x="1255158" y="347305"/>
                </a:cubicBezTo>
                <a:cubicBezTo>
                  <a:pt x="1252580" y="347305"/>
                  <a:pt x="1250474" y="346947"/>
                  <a:pt x="1248839" y="346231"/>
                </a:cubicBezTo>
                <a:cubicBezTo>
                  <a:pt x="1247203" y="345514"/>
                  <a:pt x="1245928" y="344633"/>
                  <a:pt x="1244986" y="343613"/>
                </a:cubicBezTo>
                <a:cubicBezTo>
                  <a:pt x="1244043" y="342594"/>
                  <a:pt x="1243295" y="341657"/>
                  <a:pt x="1242713" y="340803"/>
                </a:cubicBezTo>
                <a:lnTo>
                  <a:pt x="1234703" y="344082"/>
                </a:lnTo>
                <a:cubicBezTo>
                  <a:pt x="1235534" y="345983"/>
                  <a:pt x="1236837" y="347746"/>
                  <a:pt x="1238555" y="349371"/>
                </a:cubicBezTo>
                <a:cubicBezTo>
                  <a:pt x="1240274" y="350997"/>
                  <a:pt x="1242519" y="352292"/>
                  <a:pt x="1245235" y="353283"/>
                </a:cubicBezTo>
                <a:cubicBezTo>
                  <a:pt x="1247979" y="354275"/>
                  <a:pt x="1251250" y="354771"/>
                  <a:pt x="1255047" y="354771"/>
                </a:cubicBezTo>
                <a:cubicBezTo>
                  <a:pt x="1259149" y="354771"/>
                  <a:pt x="1262808" y="354165"/>
                  <a:pt x="1266079" y="352898"/>
                </a:cubicBezTo>
                <a:cubicBezTo>
                  <a:pt x="1269322" y="351630"/>
                  <a:pt x="1271927" y="349702"/>
                  <a:pt x="1273840" y="347085"/>
                </a:cubicBezTo>
                <a:cubicBezTo>
                  <a:pt x="1275752" y="344467"/>
                  <a:pt x="1276722" y="341134"/>
                  <a:pt x="1276722" y="337084"/>
                </a:cubicBezTo>
                <a:lnTo>
                  <a:pt x="1276722" y="288403"/>
                </a:lnTo>
                <a:lnTo>
                  <a:pt x="1267576" y="288403"/>
                </a:lnTo>
                <a:lnTo>
                  <a:pt x="1267576" y="296117"/>
                </a:lnTo>
                <a:lnTo>
                  <a:pt x="1266882" y="296117"/>
                </a:lnTo>
                <a:cubicBezTo>
                  <a:pt x="1266328" y="295125"/>
                  <a:pt x="1265524" y="293968"/>
                  <a:pt x="1264499" y="292673"/>
                </a:cubicBezTo>
                <a:cubicBezTo>
                  <a:pt x="1263473" y="291379"/>
                  <a:pt x="1262032" y="290221"/>
                  <a:pt x="1260203" y="289257"/>
                </a:cubicBezTo>
                <a:cubicBezTo>
                  <a:pt x="1258373" y="288265"/>
                  <a:pt x="1255962" y="287797"/>
                  <a:pt x="1252996" y="287797"/>
                </a:cubicBezTo>
                <a:close/>
                <a:moveTo>
                  <a:pt x="1545997" y="287769"/>
                </a:moveTo>
                <a:cubicBezTo>
                  <a:pt x="1542394" y="287769"/>
                  <a:pt x="1539428" y="288540"/>
                  <a:pt x="1537072" y="290056"/>
                </a:cubicBezTo>
                <a:cubicBezTo>
                  <a:pt x="1534716" y="291598"/>
                  <a:pt x="1532970" y="293610"/>
                  <a:pt x="1531889" y="296144"/>
                </a:cubicBezTo>
                <a:lnTo>
                  <a:pt x="1531307" y="296144"/>
                </a:lnTo>
                <a:lnTo>
                  <a:pt x="1531307" y="288403"/>
                </a:lnTo>
                <a:lnTo>
                  <a:pt x="1522354" y="288403"/>
                </a:lnTo>
                <a:lnTo>
                  <a:pt x="1522354" y="336009"/>
                </a:lnTo>
                <a:lnTo>
                  <a:pt x="1531695" y="336009"/>
                </a:lnTo>
                <a:lnTo>
                  <a:pt x="1531695" y="307743"/>
                </a:lnTo>
                <a:cubicBezTo>
                  <a:pt x="1531695" y="305236"/>
                  <a:pt x="1532166" y="303059"/>
                  <a:pt x="1533136" y="301268"/>
                </a:cubicBezTo>
                <a:cubicBezTo>
                  <a:pt x="1534106" y="299478"/>
                  <a:pt x="1535409" y="298128"/>
                  <a:pt x="1537100" y="297191"/>
                </a:cubicBezTo>
                <a:cubicBezTo>
                  <a:pt x="1538791" y="296254"/>
                  <a:pt x="1540703" y="295786"/>
                  <a:pt x="1542865" y="295786"/>
                </a:cubicBezTo>
                <a:cubicBezTo>
                  <a:pt x="1546025" y="295786"/>
                  <a:pt x="1548519" y="296750"/>
                  <a:pt x="1550321" y="298706"/>
                </a:cubicBezTo>
                <a:cubicBezTo>
                  <a:pt x="1552123" y="300662"/>
                  <a:pt x="1553037" y="303362"/>
                  <a:pt x="1553037" y="306806"/>
                </a:cubicBezTo>
                <a:lnTo>
                  <a:pt x="1553037" y="335981"/>
                </a:lnTo>
                <a:lnTo>
                  <a:pt x="1562295" y="335981"/>
                </a:lnTo>
                <a:lnTo>
                  <a:pt x="1562295" y="305731"/>
                </a:lnTo>
                <a:cubicBezTo>
                  <a:pt x="1562295" y="301819"/>
                  <a:pt x="1561630" y="298513"/>
                  <a:pt x="1560272" y="295841"/>
                </a:cubicBezTo>
                <a:cubicBezTo>
                  <a:pt x="1558914" y="293169"/>
                  <a:pt x="1557029" y="291158"/>
                  <a:pt x="1554562" y="289808"/>
                </a:cubicBezTo>
                <a:cubicBezTo>
                  <a:pt x="1552123" y="288458"/>
                  <a:pt x="1549240" y="287769"/>
                  <a:pt x="1545997" y="287769"/>
                </a:cubicBezTo>
                <a:close/>
                <a:moveTo>
                  <a:pt x="1334790" y="287769"/>
                </a:moveTo>
                <a:cubicBezTo>
                  <a:pt x="1331187" y="287769"/>
                  <a:pt x="1328221" y="288540"/>
                  <a:pt x="1325865" y="290056"/>
                </a:cubicBezTo>
                <a:cubicBezTo>
                  <a:pt x="1323509" y="291598"/>
                  <a:pt x="1321763" y="293610"/>
                  <a:pt x="1320682" y="296144"/>
                </a:cubicBezTo>
                <a:lnTo>
                  <a:pt x="1320100" y="296144"/>
                </a:lnTo>
                <a:lnTo>
                  <a:pt x="1320100" y="288403"/>
                </a:lnTo>
                <a:lnTo>
                  <a:pt x="1311147" y="288403"/>
                </a:lnTo>
                <a:lnTo>
                  <a:pt x="1311147" y="336009"/>
                </a:lnTo>
                <a:lnTo>
                  <a:pt x="1320488" y="336009"/>
                </a:lnTo>
                <a:lnTo>
                  <a:pt x="1320488" y="307743"/>
                </a:lnTo>
                <a:lnTo>
                  <a:pt x="1320405" y="307743"/>
                </a:lnTo>
                <a:cubicBezTo>
                  <a:pt x="1320405" y="305236"/>
                  <a:pt x="1320876" y="303059"/>
                  <a:pt x="1321846" y="301269"/>
                </a:cubicBezTo>
                <a:cubicBezTo>
                  <a:pt x="1322816" y="299478"/>
                  <a:pt x="1324119" y="298128"/>
                  <a:pt x="1325810" y="297191"/>
                </a:cubicBezTo>
                <a:cubicBezTo>
                  <a:pt x="1327500" y="296254"/>
                  <a:pt x="1329413" y="295786"/>
                  <a:pt x="1331575" y="295786"/>
                </a:cubicBezTo>
                <a:cubicBezTo>
                  <a:pt x="1334735" y="295786"/>
                  <a:pt x="1337229" y="296750"/>
                  <a:pt x="1339031" y="298706"/>
                </a:cubicBezTo>
                <a:cubicBezTo>
                  <a:pt x="1340832" y="300662"/>
                  <a:pt x="1341747" y="303362"/>
                  <a:pt x="1341747" y="306806"/>
                </a:cubicBezTo>
                <a:lnTo>
                  <a:pt x="1341747" y="335982"/>
                </a:lnTo>
                <a:lnTo>
                  <a:pt x="1351088" y="335982"/>
                </a:lnTo>
                <a:lnTo>
                  <a:pt x="1351088" y="305732"/>
                </a:lnTo>
                <a:cubicBezTo>
                  <a:pt x="1351088" y="301820"/>
                  <a:pt x="1350423" y="298514"/>
                  <a:pt x="1349065" y="295841"/>
                </a:cubicBezTo>
                <a:cubicBezTo>
                  <a:pt x="1347707" y="293169"/>
                  <a:pt x="1345822" y="291158"/>
                  <a:pt x="1343355" y="289808"/>
                </a:cubicBezTo>
                <a:cubicBezTo>
                  <a:pt x="1340916" y="288458"/>
                  <a:pt x="1338033" y="287769"/>
                  <a:pt x="1334790" y="287769"/>
                </a:cubicBezTo>
                <a:close/>
                <a:moveTo>
                  <a:pt x="1206265" y="287769"/>
                </a:moveTo>
                <a:cubicBezTo>
                  <a:pt x="1202662" y="287769"/>
                  <a:pt x="1199696" y="288540"/>
                  <a:pt x="1197340" y="290056"/>
                </a:cubicBezTo>
                <a:cubicBezTo>
                  <a:pt x="1194984" y="291598"/>
                  <a:pt x="1193238" y="293610"/>
                  <a:pt x="1192157" y="296144"/>
                </a:cubicBezTo>
                <a:lnTo>
                  <a:pt x="1191575" y="296144"/>
                </a:lnTo>
                <a:lnTo>
                  <a:pt x="1191575" y="288403"/>
                </a:lnTo>
                <a:lnTo>
                  <a:pt x="1182622" y="288403"/>
                </a:lnTo>
                <a:lnTo>
                  <a:pt x="1182622" y="336009"/>
                </a:lnTo>
                <a:lnTo>
                  <a:pt x="1191963" y="336009"/>
                </a:lnTo>
                <a:lnTo>
                  <a:pt x="1191963" y="307743"/>
                </a:lnTo>
                <a:lnTo>
                  <a:pt x="1191880" y="307743"/>
                </a:lnTo>
                <a:cubicBezTo>
                  <a:pt x="1191880" y="305236"/>
                  <a:pt x="1192351" y="303059"/>
                  <a:pt x="1193321" y="301269"/>
                </a:cubicBezTo>
                <a:cubicBezTo>
                  <a:pt x="1194291" y="299478"/>
                  <a:pt x="1195594" y="298128"/>
                  <a:pt x="1197285" y="297191"/>
                </a:cubicBezTo>
                <a:cubicBezTo>
                  <a:pt x="1198948" y="296254"/>
                  <a:pt x="1200888" y="295786"/>
                  <a:pt x="1203050" y="295786"/>
                </a:cubicBezTo>
                <a:cubicBezTo>
                  <a:pt x="1206210" y="295786"/>
                  <a:pt x="1208704" y="296750"/>
                  <a:pt x="1210506" y="298706"/>
                </a:cubicBezTo>
                <a:cubicBezTo>
                  <a:pt x="1212307" y="300662"/>
                  <a:pt x="1213222" y="303362"/>
                  <a:pt x="1213222" y="306806"/>
                </a:cubicBezTo>
                <a:lnTo>
                  <a:pt x="1213222" y="335982"/>
                </a:lnTo>
                <a:lnTo>
                  <a:pt x="1222563" y="335982"/>
                </a:lnTo>
                <a:lnTo>
                  <a:pt x="1222563" y="305732"/>
                </a:lnTo>
                <a:cubicBezTo>
                  <a:pt x="1222563" y="301820"/>
                  <a:pt x="1221898" y="298514"/>
                  <a:pt x="1220540" y="295841"/>
                </a:cubicBezTo>
                <a:cubicBezTo>
                  <a:pt x="1219182" y="293169"/>
                  <a:pt x="1217297" y="291158"/>
                  <a:pt x="1214830" y="289808"/>
                </a:cubicBezTo>
                <a:cubicBezTo>
                  <a:pt x="1212391" y="288458"/>
                  <a:pt x="1209508" y="287769"/>
                  <a:pt x="1206265" y="287769"/>
                </a:cubicBezTo>
                <a:close/>
                <a:moveTo>
                  <a:pt x="1488372" y="287687"/>
                </a:moveTo>
                <a:cubicBezTo>
                  <a:pt x="1485572" y="287687"/>
                  <a:pt x="1483050" y="288431"/>
                  <a:pt x="1480833" y="289891"/>
                </a:cubicBezTo>
                <a:cubicBezTo>
                  <a:pt x="1478615" y="291379"/>
                  <a:pt x="1477063" y="293390"/>
                  <a:pt x="1476204" y="295952"/>
                </a:cubicBezTo>
                <a:lnTo>
                  <a:pt x="1475705" y="295952"/>
                </a:lnTo>
                <a:lnTo>
                  <a:pt x="1475705" y="288403"/>
                </a:lnTo>
                <a:lnTo>
                  <a:pt x="1466697" y="288403"/>
                </a:lnTo>
                <a:lnTo>
                  <a:pt x="1466697" y="336009"/>
                </a:lnTo>
                <a:lnTo>
                  <a:pt x="1476038" y="336009"/>
                </a:lnTo>
                <a:lnTo>
                  <a:pt x="1476038" y="306944"/>
                </a:lnTo>
                <a:cubicBezTo>
                  <a:pt x="1476038" y="304878"/>
                  <a:pt x="1476537" y="303032"/>
                  <a:pt x="1477534" y="301407"/>
                </a:cubicBezTo>
                <a:cubicBezTo>
                  <a:pt x="1478532" y="299781"/>
                  <a:pt x="1479890" y="298514"/>
                  <a:pt x="1481609" y="297605"/>
                </a:cubicBezTo>
                <a:cubicBezTo>
                  <a:pt x="1483327" y="296696"/>
                  <a:pt x="1485295" y="296227"/>
                  <a:pt x="1487485" y="296227"/>
                </a:cubicBezTo>
                <a:cubicBezTo>
                  <a:pt x="1488427" y="296227"/>
                  <a:pt x="1489397" y="296310"/>
                  <a:pt x="1490340" y="296420"/>
                </a:cubicBezTo>
                <a:cubicBezTo>
                  <a:pt x="1491310" y="296558"/>
                  <a:pt x="1491975" y="296668"/>
                  <a:pt x="1492335" y="296778"/>
                </a:cubicBezTo>
                <a:lnTo>
                  <a:pt x="1492335" y="287907"/>
                </a:lnTo>
                <a:cubicBezTo>
                  <a:pt x="1491864" y="287852"/>
                  <a:pt x="1491254" y="287797"/>
                  <a:pt x="1490451" y="287742"/>
                </a:cubicBezTo>
                <a:cubicBezTo>
                  <a:pt x="1489647" y="287687"/>
                  <a:pt x="1488954" y="287687"/>
                  <a:pt x="1488372" y="287687"/>
                </a:cubicBezTo>
                <a:close/>
                <a:moveTo>
                  <a:pt x="1130319" y="272535"/>
                </a:moveTo>
                <a:lnTo>
                  <a:pt x="1130319" y="336037"/>
                </a:lnTo>
                <a:lnTo>
                  <a:pt x="1170759" y="336037"/>
                </a:lnTo>
                <a:lnTo>
                  <a:pt x="1170759" y="327772"/>
                </a:lnTo>
                <a:lnTo>
                  <a:pt x="1139965" y="327772"/>
                </a:lnTo>
                <a:lnTo>
                  <a:pt x="1139965" y="308350"/>
                </a:lnTo>
                <a:lnTo>
                  <a:pt x="1168292" y="308350"/>
                </a:lnTo>
                <a:lnTo>
                  <a:pt x="1168292" y="300140"/>
                </a:lnTo>
                <a:lnTo>
                  <a:pt x="1139965" y="300140"/>
                </a:lnTo>
                <a:lnTo>
                  <a:pt x="1139965" y="280800"/>
                </a:lnTo>
                <a:lnTo>
                  <a:pt x="1170371" y="280800"/>
                </a:lnTo>
                <a:lnTo>
                  <a:pt x="1170371" y="272535"/>
                </a:lnTo>
                <a:close/>
                <a:moveTo>
                  <a:pt x="887431" y="272507"/>
                </a:moveTo>
                <a:lnTo>
                  <a:pt x="846964" y="352980"/>
                </a:lnTo>
                <a:lnTo>
                  <a:pt x="892005" y="352980"/>
                </a:lnTo>
                <a:lnTo>
                  <a:pt x="917948" y="301434"/>
                </a:lnTo>
                <a:lnTo>
                  <a:pt x="1024660" y="513871"/>
                </a:lnTo>
                <a:lnTo>
                  <a:pt x="1069673" y="513871"/>
                </a:lnTo>
                <a:lnTo>
                  <a:pt x="948133" y="272507"/>
                </a:lnTo>
                <a:close/>
                <a:moveTo>
                  <a:pt x="563637" y="272479"/>
                </a:moveTo>
                <a:lnTo>
                  <a:pt x="563637" y="352980"/>
                </a:lnTo>
                <a:lnTo>
                  <a:pt x="604132" y="352980"/>
                </a:lnTo>
                <a:lnTo>
                  <a:pt x="604132" y="312730"/>
                </a:lnTo>
                <a:lnTo>
                  <a:pt x="745796" y="312757"/>
                </a:lnTo>
                <a:lnTo>
                  <a:pt x="745796" y="272507"/>
                </a:lnTo>
                <a:close/>
                <a:moveTo>
                  <a:pt x="390736" y="272479"/>
                </a:moveTo>
                <a:cubicBezTo>
                  <a:pt x="324159" y="272479"/>
                  <a:pt x="269999" y="326642"/>
                  <a:pt x="269999" y="393230"/>
                </a:cubicBezTo>
                <a:cubicBezTo>
                  <a:pt x="269999" y="459818"/>
                  <a:pt x="324159" y="513871"/>
                  <a:pt x="390736" y="513871"/>
                </a:cubicBezTo>
                <a:lnTo>
                  <a:pt x="502964" y="513871"/>
                </a:lnTo>
                <a:lnTo>
                  <a:pt x="502964" y="413314"/>
                </a:lnTo>
                <a:lnTo>
                  <a:pt x="563665" y="413314"/>
                </a:lnTo>
                <a:lnTo>
                  <a:pt x="563665" y="513871"/>
                </a:lnTo>
                <a:lnTo>
                  <a:pt x="725562" y="513871"/>
                </a:lnTo>
                <a:lnTo>
                  <a:pt x="745795" y="473648"/>
                </a:lnTo>
                <a:lnTo>
                  <a:pt x="604132" y="473648"/>
                </a:lnTo>
                <a:lnTo>
                  <a:pt x="604132" y="413314"/>
                </a:lnTo>
                <a:lnTo>
                  <a:pt x="816364" y="413314"/>
                </a:lnTo>
                <a:lnTo>
                  <a:pt x="766029" y="513871"/>
                </a:lnTo>
                <a:lnTo>
                  <a:pt x="811042" y="513871"/>
                </a:lnTo>
                <a:lnTo>
                  <a:pt x="861626" y="413314"/>
                </a:lnTo>
                <a:lnTo>
                  <a:pt x="948132" y="413314"/>
                </a:lnTo>
                <a:lnTo>
                  <a:pt x="927898" y="373091"/>
                </a:lnTo>
                <a:lnTo>
                  <a:pt x="401768" y="373091"/>
                </a:lnTo>
                <a:lnTo>
                  <a:pt x="381534" y="413314"/>
                </a:lnTo>
                <a:lnTo>
                  <a:pt x="462469" y="413314"/>
                </a:lnTo>
                <a:lnTo>
                  <a:pt x="462469" y="473648"/>
                </a:lnTo>
                <a:lnTo>
                  <a:pt x="390736" y="473648"/>
                </a:lnTo>
                <a:cubicBezTo>
                  <a:pt x="346388" y="473648"/>
                  <a:pt x="310273" y="437723"/>
                  <a:pt x="310273" y="393230"/>
                </a:cubicBezTo>
                <a:cubicBezTo>
                  <a:pt x="310273" y="348737"/>
                  <a:pt x="346361" y="312729"/>
                  <a:pt x="390736" y="312729"/>
                </a:cubicBezTo>
                <a:lnTo>
                  <a:pt x="482647" y="312729"/>
                </a:lnTo>
                <a:lnTo>
                  <a:pt x="482647" y="272479"/>
                </a:lnTo>
                <a:close/>
                <a:moveTo>
                  <a:pt x="1505141" y="270000"/>
                </a:moveTo>
                <a:cubicBezTo>
                  <a:pt x="1503506" y="270000"/>
                  <a:pt x="1502120" y="270551"/>
                  <a:pt x="1500983" y="271625"/>
                </a:cubicBezTo>
                <a:cubicBezTo>
                  <a:pt x="1499819" y="272700"/>
                  <a:pt x="1499265" y="274022"/>
                  <a:pt x="1499265" y="275538"/>
                </a:cubicBezTo>
                <a:cubicBezTo>
                  <a:pt x="1499265" y="277053"/>
                  <a:pt x="1499847" y="278348"/>
                  <a:pt x="1500983" y="279422"/>
                </a:cubicBezTo>
                <a:cubicBezTo>
                  <a:pt x="1502148" y="280524"/>
                  <a:pt x="1503534" y="281075"/>
                  <a:pt x="1505141" y="281075"/>
                </a:cubicBezTo>
                <a:cubicBezTo>
                  <a:pt x="1506777" y="281075"/>
                  <a:pt x="1508162" y="280524"/>
                  <a:pt x="1509299" y="279450"/>
                </a:cubicBezTo>
                <a:cubicBezTo>
                  <a:pt x="1510463" y="278375"/>
                  <a:pt x="1511017" y="277080"/>
                  <a:pt x="1511017" y="275565"/>
                </a:cubicBezTo>
                <a:cubicBezTo>
                  <a:pt x="1511017" y="274022"/>
                  <a:pt x="1510435" y="272727"/>
                  <a:pt x="1509299" y="271653"/>
                </a:cubicBezTo>
                <a:cubicBezTo>
                  <a:pt x="1508162" y="270551"/>
                  <a:pt x="1506777" y="270000"/>
                  <a:pt x="1505141" y="270000"/>
                </a:cubicBezTo>
                <a:close/>
                <a:moveTo>
                  <a:pt x="1293907" y="270000"/>
                </a:moveTo>
                <a:cubicBezTo>
                  <a:pt x="1292272" y="270000"/>
                  <a:pt x="1290886" y="270551"/>
                  <a:pt x="1289749" y="271625"/>
                </a:cubicBezTo>
                <a:cubicBezTo>
                  <a:pt x="1288585" y="272700"/>
                  <a:pt x="1288031" y="274022"/>
                  <a:pt x="1288031" y="275538"/>
                </a:cubicBezTo>
                <a:cubicBezTo>
                  <a:pt x="1288031" y="277053"/>
                  <a:pt x="1288613" y="278348"/>
                  <a:pt x="1289749" y="279422"/>
                </a:cubicBezTo>
                <a:cubicBezTo>
                  <a:pt x="1290886" y="280524"/>
                  <a:pt x="1292300" y="281075"/>
                  <a:pt x="1293907" y="281075"/>
                </a:cubicBezTo>
                <a:cubicBezTo>
                  <a:pt x="1295543" y="281075"/>
                  <a:pt x="1296928" y="280524"/>
                  <a:pt x="1298065" y="279450"/>
                </a:cubicBezTo>
                <a:cubicBezTo>
                  <a:pt x="1299229" y="278375"/>
                  <a:pt x="1299783" y="277080"/>
                  <a:pt x="1299783" y="275565"/>
                </a:cubicBezTo>
                <a:cubicBezTo>
                  <a:pt x="1299783" y="274022"/>
                  <a:pt x="1299201" y="272727"/>
                  <a:pt x="1298065" y="271653"/>
                </a:cubicBezTo>
                <a:cubicBezTo>
                  <a:pt x="1296928" y="270551"/>
                  <a:pt x="1295543" y="270000"/>
                  <a:pt x="1293907" y="270000"/>
                </a:cubicBezTo>
                <a:close/>
                <a:moveTo>
                  <a:pt x="0" y="0"/>
                </a:moveTo>
                <a:lnTo>
                  <a:pt x="12207875" y="0"/>
                </a:lnTo>
                <a:lnTo>
                  <a:pt x="122078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61DA797-8454-4364-8770-8101AFDD41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4032000" cy="1883593"/>
          </a:xfrm>
        </p:spPr>
        <p:txBody>
          <a:bodyPr vert="horz" anchor="b"/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US"/>
              <a:t>Titl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FEAEEB5-CEA6-41B3-AE59-98285007A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3525" y="4357103"/>
            <a:ext cx="4032000" cy="246221"/>
          </a:xfrm>
        </p:spPr>
        <p:txBody>
          <a:bodyPr>
            <a:no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line optional Inter Medium 16pt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80E2349F-1508-4D41-A46E-B4E8D0F7F0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3525" y="5688568"/>
            <a:ext cx="4032000" cy="369332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uthor, </a:t>
            </a:r>
            <a:br>
              <a:rPr lang="en-US"/>
            </a:br>
            <a:r>
              <a:rPr lang="en-US"/>
              <a:t>Place, Date Inter 12pt</a:t>
            </a:r>
          </a:p>
        </p:txBody>
      </p:sp>
    </p:spTree>
    <p:extLst>
      <p:ext uri="{BB962C8B-B14F-4D97-AF65-F5344CB8AC3E}">
        <p14:creationId xmlns:p14="http://schemas.microsoft.com/office/powerpoint/2010/main" val="7917359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blue - 2 column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1748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000" y="1504673"/>
            <a:ext cx="11664950" cy="627864"/>
          </a:xfrm>
        </p:spPr>
        <p:txBody>
          <a:bodyPr vert="horz"/>
          <a:lstStyle>
            <a:lvl1pPr rtl="0">
              <a:lnSpc>
                <a:spcPct val="85000"/>
              </a:lnSpc>
              <a:defRPr sz="4800" b="0" cap="all" baseline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US"/>
              <a:t>AGENDA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34406A03-22D6-46B0-A9B8-5AC328A84820}"/>
              </a:ext>
            </a:extLst>
          </p:cNvPr>
          <p:cNvGrpSpPr/>
          <p:nvPr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C7EF41AE-0DD3-4622-8841-EDD4D148E479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2F6E9FC4-687E-4587-9A35-C92C632E9C97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66B5C64B-F7B6-45D8-BD84-3570710AFD24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86368AF6-26B1-4974-B5DD-29AC86DA542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C00DAD21-08A9-4554-BD84-5682868D2F70}" type="datetime4">
              <a:rPr lang="en-US" smtClean="0"/>
              <a:t>July 4, 2024</a:t>
            </a:fld>
            <a:endParaRPr lang="en-US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9B746D0C-4727-495D-9630-56B5E27F0AC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347DAC17-C8F9-43B5-9C96-E723FFF6F6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D8CBEAA-AEA6-4AD9-80A8-74188171D8A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0000" y="2605088"/>
            <a:ext cx="5653087" cy="3344862"/>
          </a:xfrm>
        </p:spPr>
        <p:txBody>
          <a:bodyPr/>
          <a:lstStyle>
            <a:lvl1pPr rtl="0">
              <a:buClr>
                <a:schemeClr val="bg1"/>
              </a:buClr>
              <a:tabLst>
                <a:tab pos="355600" algn="l"/>
              </a:tabLst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971B60F-35FE-4E1E-9785-FF4BF2AA1DB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390" y="2605088"/>
            <a:ext cx="5646735" cy="3338512"/>
          </a:xfrm>
        </p:spPr>
        <p:txBody>
          <a:bodyPr/>
          <a:lstStyle>
            <a:lvl1pPr rtl="0">
              <a:buClr>
                <a:schemeClr val="bg1"/>
              </a:buClr>
              <a:tabLst>
                <a:tab pos="355600" algn="l"/>
              </a:tabLst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3243910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7" orient="horz" pos="374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blue - arr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3665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000" y="1504673"/>
            <a:ext cx="4032000" cy="627864"/>
          </a:xfrm>
        </p:spPr>
        <p:txBody>
          <a:bodyPr vert="horz"/>
          <a:lstStyle>
            <a:lvl1pPr rtl="0">
              <a:lnSpc>
                <a:spcPct val="85000"/>
              </a:lnSpc>
              <a:defRPr sz="4800" b="0" cap="all" baseline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US"/>
              <a:t>AGENDA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34406A03-22D6-46B0-A9B8-5AC328A84820}"/>
              </a:ext>
            </a:extLst>
          </p:cNvPr>
          <p:cNvGrpSpPr/>
          <p:nvPr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C7EF41AE-0DD3-4622-8841-EDD4D148E479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2F6E9FC4-687E-4587-9A35-C92C632E9C97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66B5C64B-F7B6-45D8-BD84-3570710AFD24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86368AF6-26B1-4974-B5DD-29AC86DA542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72D8515-91FC-42D9-89CE-21450F2675A7}" type="datetime4">
              <a:rPr lang="en-US" smtClean="0"/>
              <a:t>July 4, 2024</a:t>
            </a:fld>
            <a:endParaRPr lang="en-US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9B746D0C-4727-495D-9630-56B5E27F0AC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347DAC17-C8F9-43B5-9C96-E723FFF6F6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14A86269-F360-46CC-9E3E-FB55A79D73B1}"/>
              </a:ext>
            </a:extLst>
          </p:cNvPr>
          <p:cNvSpPr/>
          <p:nvPr/>
        </p:nvSpPr>
        <p:spPr bwMode="invGray">
          <a:xfrm>
            <a:off x="4591254" y="-1"/>
            <a:ext cx="7602228" cy="6858001"/>
          </a:xfrm>
          <a:custGeom>
            <a:avLst/>
            <a:gdLst>
              <a:gd name="connsiteX0" fmla="*/ 3293816 w 7602228"/>
              <a:gd name="connsiteY0" fmla="*/ 4038523 h 6858001"/>
              <a:gd name="connsiteX1" fmla="*/ 4309498 w 7602228"/>
              <a:gd name="connsiteY1" fmla="*/ 4038523 h 6858001"/>
              <a:gd name="connsiteX2" fmla="*/ 4309498 w 7602228"/>
              <a:gd name="connsiteY2" fmla="*/ 6858001 h 6858001"/>
              <a:gd name="connsiteX3" fmla="*/ 3293816 w 7602228"/>
              <a:gd name="connsiteY3" fmla="*/ 6858001 h 6858001"/>
              <a:gd name="connsiteX4" fmla="*/ 1268071 w 7602228"/>
              <a:gd name="connsiteY4" fmla="*/ 3540455 h 6858001"/>
              <a:gd name="connsiteX5" fmla="*/ 2395990 w 7602228"/>
              <a:gd name="connsiteY5" fmla="*/ 3540455 h 6858001"/>
              <a:gd name="connsiteX6" fmla="*/ 1128430 w 7602228"/>
              <a:gd name="connsiteY6" fmla="*/ 6074552 h 6858001"/>
              <a:gd name="connsiteX7" fmla="*/ 0 w 7602228"/>
              <a:gd name="connsiteY7" fmla="*/ 6074552 h 6858001"/>
              <a:gd name="connsiteX8" fmla="*/ 3037787 w 7602228"/>
              <a:gd name="connsiteY8" fmla="*/ 0 h 6858001"/>
              <a:gd name="connsiteX9" fmla="*/ 4565464 w 7602228"/>
              <a:gd name="connsiteY9" fmla="*/ 0 h 6858001"/>
              <a:gd name="connsiteX10" fmla="*/ 7602228 w 7602228"/>
              <a:gd name="connsiteY10" fmla="*/ 6076086 h 6858001"/>
              <a:gd name="connsiteX11" fmla="*/ 6474309 w 7602228"/>
              <a:gd name="connsiteY11" fmla="*/ 6076086 h 6858001"/>
              <a:gd name="connsiteX12" fmla="*/ 3801657 w 7602228"/>
              <a:gd name="connsiteY12" fmla="*/ 730206 h 6858001"/>
              <a:gd name="connsiteX13" fmla="*/ 3154686 w 7602228"/>
              <a:gd name="connsiteY13" fmla="*/ 2023126 h 6858001"/>
              <a:gd name="connsiteX14" fmla="*/ 2026256 w 7602228"/>
              <a:gd name="connsiteY14" fmla="*/ 2023126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602228" h="6858001">
                <a:moveTo>
                  <a:pt x="3293816" y="4038523"/>
                </a:moveTo>
                <a:lnTo>
                  <a:pt x="4309498" y="4038523"/>
                </a:lnTo>
                <a:lnTo>
                  <a:pt x="4309498" y="6858001"/>
                </a:lnTo>
                <a:lnTo>
                  <a:pt x="3293816" y="6858001"/>
                </a:lnTo>
                <a:close/>
                <a:moveTo>
                  <a:pt x="1268071" y="3540455"/>
                </a:moveTo>
                <a:lnTo>
                  <a:pt x="2395990" y="3540455"/>
                </a:lnTo>
                <a:lnTo>
                  <a:pt x="1128430" y="6074552"/>
                </a:lnTo>
                <a:lnTo>
                  <a:pt x="0" y="6074552"/>
                </a:lnTo>
                <a:close/>
                <a:moveTo>
                  <a:pt x="3037787" y="0"/>
                </a:moveTo>
                <a:lnTo>
                  <a:pt x="4565464" y="0"/>
                </a:lnTo>
                <a:lnTo>
                  <a:pt x="7602228" y="6076086"/>
                </a:lnTo>
                <a:lnTo>
                  <a:pt x="6474309" y="6076086"/>
                </a:lnTo>
                <a:lnTo>
                  <a:pt x="3801657" y="730206"/>
                </a:lnTo>
                <a:lnTo>
                  <a:pt x="3154686" y="2023126"/>
                </a:lnTo>
                <a:lnTo>
                  <a:pt x="2026256" y="2023126"/>
                </a:lnTo>
                <a:close/>
              </a:path>
            </a:pathLst>
          </a:custGeom>
          <a:gradFill>
            <a:gsLst>
              <a:gs pos="1000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CF1D41A-0362-4CFF-8DD5-074C1D6936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0000" y="2605088"/>
            <a:ext cx="4032000" cy="3344862"/>
          </a:xfrm>
        </p:spPr>
        <p:txBody>
          <a:bodyPr/>
          <a:lstStyle>
            <a:lvl1pPr rtl="0">
              <a:buClr>
                <a:schemeClr val="bg1"/>
              </a:buClr>
              <a:tabLst>
                <a:tab pos="355600" algn="l"/>
              </a:tabLst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17585677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7" orient="horz" pos="374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blue - small arr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291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000" y="1504673"/>
            <a:ext cx="11664950" cy="627864"/>
          </a:xfrm>
        </p:spPr>
        <p:txBody>
          <a:bodyPr vert="horz"/>
          <a:lstStyle>
            <a:lvl1pPr rtl="0">
              <a:lnSpc>
                <a:spcPct val="85000"/>
              </a:lnSpc>
              <a:defRPr sz="4800" b="0" cap="all" baseline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US"/>
              <a:t>AGENDA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34406A03-22D6-46B0-A9B8-5AC328A84820}"/>
              </a:ext>
            </a:extLst>
          </p:cNvPr>
          <p:cNvGrpSpPr/>
          <p:nvPr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C7EF41AE-0DD3-4622-8841-EDD4D148E479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2F6E9FC4-687E-4587-9A35-C92C632E9C97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66B5C64B-F7B6-45D8-BD84-3570710AFD24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86368AF6-26B1-4974-B5DD-29AC86DA542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C14F2B00-0171-43BC-AA95-1DD3CFCD2186}" type="datetime4">
              <a:rPr lang="en-US" smtClean="0"/>
              <a:t>July 4, 2024</a:t>
            </a:fld>
            <a:endParaRPr lang="en-US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9B746D0C-4727-495D-9630-56B5E27F0AC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347DAC17-C8F9-43B5-9C96-E723FFF6F6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Grafik 2">
            <a:extLst>
              <a:ext uri="{FF2B5EF4-FFF2-40B4-BE49-F238E27FC236}">
                <a16:creationId xmlns:a16="http://schemas.microsoft.com/office/drawing/2014/main" id="{F834D6E4-1C6E-4069-9F58-E568CAF900C2}"/>
              </a:ext>
            </a:extLst>
          </p:cNvPr>
          <p:cNvSpPr>
            <a:spLocks/>
          </p:cNvSpPr>
          <p:nvPr/>
        </p:nvSpPr>
        <p:spPr>
          <a:xfrm>
            <a:off x="270001" y="2605389"/>
            <a:ext cx="1684964" cy="1115585"/>
          </a:xfrm>
          <a:custGeom>
            <a:avLst/>
            <a:gdLst>
              <a:gd name="connsiteX0" fmla="*/ 228596 w 228600"/>
              <a:gd name="connsiteY0" fmla="*/ 60095 h 151352"/>
              <a:gd name="connsiteX1" fmla="*/ 228596 w 228600"/>
              <a:gd name="connsiteY1" fmla="*/ 90384 h 151352"/>
              <a:gd name="connsiteX2" fmla="*/ 109153 w 228600"/>
              <a:gd name="connsiteY2" fmla="*/ 151344 h 151352"/>
              <a:gd name="connsiteX3" fmla="*/ 100390 w 228600"/>
              <a:gd name="connsiteY3" fmla="*/ 134390 h 151352"/>
              <a:gd name="connsiteX4" fmla="*/ 209546 w 228600"/>
              <a:gd name="connsiteY4" fmla="*/ 78668 h 151352"/>
              <a:gd name="connsiteX5" fmla="*/ 209546 w 228600"/>
              <a:gd name="connsiteY5" fmla="*/ 71810 h 151352"/>
              <a:gd name="connsiteX6" fmla="*/ 183448 w 228600"/>
              <a:gd name="connsiteY6" fmla="*/ 58666 h 151352"/>
              <a:gd name="connsiteX7" fmla="*/ 191925 w 228600"/>
              <a:gd name="connsiteY7" fmla="*/ 41711 h 151352"/>
              <a:gd name="connsiteX8" fmla="*/ 158111 w 228600"/>
              <a:gd name="connsiteY8" fmla="*/ 24662 h 151352"/>
              <a:gd name="connsiteX9" fmla="*/ 109057 w 228600"/>
              <a:gd name="connsiteY9" fmla="*/ -8 h 151352"/>
              <a:gd name="connsiteX10" fmla="*/ 100485 w 228600"/>
              <a:gd name="connsiteY10" fmla="*/ 17042 h 151352"/>
              <a:gd name="connsiteX11" fmla="*/ 149539 w 228600"/>
              <a:gd name="connsiteY11" fmla="*/ 41711 h 151352"/>
              <a:gd name="connsiteX12" fmla="*/ 133346 w 228600"/>
              <a:gd name="connsiteY12" fmla="*/ 66191 h 151352"/>
              <a:gd name="connsiteX13" fmla="*/ -4 w 228600"/>
              <a:gd name="connsiteY13" fmla="*/ 66191 h 151352"/>
              <a:gd name="connsiteX14" fmla="*/ -4 w 228600"/>
              <a:gd name="connsiteY14" fmla="*/ 85241 h 151352"/>
              <a:gd name="connsiteX15" fmla="*/ 133346 w 228600"/>
              <a:gd name="connsiteY15" fmla="*/ 85241 h 151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28600" h="151352">
                <a:moveTo>
                  <a:pt x="228596" y="60095"/>
                </a:moveTo>
                <a:lnTo>
                  <a:pt x="228596" y="90384"/>
                </a:lnTo>
                <a:lnTo>
                  <a:pt x="109153" y="151344"/>
                </a:lnTo>
                <a:lnTo>
                  <a:pt x="100390" y="134390"/>
                </a:lnTo>
                <a:lnTo>
                  <a:pt x="209546" y="78668"/>
                </a:lnTo>
                <a:lnTo>
                  <a:pt x="209546" y="71810"/>
                </a:lnTo>
                <a:lnTo>
                  <a:pt x="183448" y="58666"/>
                </a:lnTo>
                <a:lnTo>
                  <a:pt x="191925" y="41711"/>
                </a:lnTo>
                <a:close/>
                <a:moveTo>
                  <a:pt x="158111" y="24662"/>
                </a:moveTo>
                <a:lnTo>
                  <a:pt x="109057" y="-8"/>
                </a:lnTo>
                <a:lnTo>
                  <a:pt x="100485" y="17042"/>
                </a:lnTo>
                <a:lnTo>
                  <a:pt x="149539" y="41711"/>
                </a:lnTo>
                <a:close/>
                <a:moveTo>
                  <a:pt x="133346" y="66191"/>
                </a:moveTo>
                <a:lnTo>
                  <a:pt x="-4" y="66191"/>
                </a:lnTo>
                <a:lnTo>
                  <a:pt x="-4" y="85241"/>
                </a:lnTo>
                <a:lnTo>
                  <a:pt x="133346" y="85241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4D5CC2-EDB8-4EBC-A5BA-A7F4D2A4A5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59263" y="2605388"/>
            <a:ext cx="5652000" cy="3344561"/>
          </a:xfrm>
        </p:spPr>
        <p:txBody>
          <a:bodyPr/>
          <a:lstStyle>
            <a:lvl1pPr rtl="0">
              <a:buClr>
                <a:schemeClr val="bg1"/>
              </a:buClr>
              <a:tabLst>
                <a:tab pos="355600" algn="l"/>
              </a:tabLst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410165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683">
          <p15:clr>
            <a:srgbClr val="FBAE40"/>
          </p15:clr>
        </p15:guide>
        <p15:guide id="3" pos="2479">
          <p15:clr>
            <a:srgbClr val="FBAE40"/>
          </p15:clr>
        </p15:guide>
        <p15:guide id="7" orient="horz" pos="374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6C0CEA4-5BC5-41CC-9E9B-9E5CD91A4C50}"/>
              </a:ext>
            </a:extLst>
          </p:cNvPr>
          <p:cNvGraphicFramePr>
            <a:graphicFrameLocks noChangeAspect="1"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623435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9" imgW="344" imgH="345" progId="TCLayout.ActiveDocument.1">
                  <p:embed/>
                </p:oleObj>
              </mc:Choice>
              <mc:Fallback>
                <p:oleObj name="think-cell Folie" r:id="rId49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6C0CEA4-5BC5-41CC-9E9B-9E5CD91A4C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EF332DA-E738-431B-8AE7-A7DEE3EB9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5" y="229880"/>
            <a:ext cx="116649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Headline Inter Medium bold 30p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8E99D9-CA96-4FD7-8A92-0558BC525A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3525" y="1449388"/>
            <a:ext cx="11664950" cy="45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B501FDD-A44D-476D-8AEB-D86C140562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35756" y="6584135"/>
            <a:ext cx="936000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0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4E21BC9A-0B51-42E4-9462-C156FAE076B5}" type="datetime4">
              <a:rPr lang="en-US" smtClean="0"/>
              <a:t>July 4, 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FF644C6-3665-4359-A085-B5D0334DBF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38597" y="6584135"/>
            <a:ext cx="4114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 rtl="0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6434587-7614-47E7-B2CA-70D35FE771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475" y="6584135"/>
            <a:ext cx="288000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0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AFFA33C5-4836-4BB5-AFB0-C58265646AE1}"/>
              </a:ext>
            </a:extLst>
          </p:cNvPr>
          <p:cNvGrpSpPr/>
          <p:nvPr/>
        </p:nvGrpSpPr>
        <p:grpSpPr>
          <a:xfrm>
            <a:off x="269875" y="6525716"/>
            <a:ext cx="485623" cy="147421"/>
            <a:chOff x="269875" y="6525716"/>
            <a:chExt cx="485623" cy="147421"/>
          </a:xfrm>
          <a:solidFill>
            <a:schemeClr val="accent1"/>
          </a:solidFill>
        </p:grpSpPr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25B01271-200E-4F33-B311-5D88977B6023}"/>
                </a:ext>
              </a:extLst>
            </p:cNvPr>
            <p:cNvSpPr/>
            <p:nvPr/>
          </p:nvSpPr>
          <p:spPr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2576AED9-BBAC-4185-A611-167F3D7F262F}"/>
                </a:ext>
              </a:extLst>
            </p:cNvPr>
            <p:cNvSpPr/>
            <p:nvPr/>
          </p:nvSpPr>
          <p:spPr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D79D4FC7-7AE3-474B-8E96-1D9EB22499ED}"/>
                </a:ext>
              </a:extLst>
            </p:cNvPr>
            <p:cNvSpPr/>
            <p:nvPr/>
          </p:nvSpPr>
          <p:spPr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7" name="MSIPCMContentMarking" descr="{&quot;HashCode&quot;:-2125275679,&quot;Placement&quot;:&quot;Footer&quot;,&quot;Top&quot;:524.1047,&quot;Left&quot;:0.0,&quot;SlideWidth&quot;:960,&quot;SlideHeight&quot;:540}">
            <a:extLst>
              <a:ext uri="{FF2B5EF4-FFF2-40B4-BE49-F238E27FC236}">
                <a16:creationId xmlns:a16="http://schemas.microsoft.com/office/drawing/2014/main" id="{F5752989-683D-4EA5-88BF-60EEC55D9529}"/>
              </a:ext>
            </a:extLst>
          </p:cNvPr>
          <p:cNvSpPr txBox="1"/>
          <p:nvPr userDrawn="1"/>
        </p:nvSpPr>
        <p:spPr>
          <a:xfrm>
            <a:off x="0" y="6656129"/>
            <a:ext cx="6401459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</a:pPr>
            <a:r>
              <a:rPr lang="de-DE" sz="700">
                <a:solidFill>
                  <a:srgbClr val="0303B8"/>
                </a:solidFill>
                <a:latin typeface="Arial" panose="020B0604020202020204" pitchFamily="34" charset="0"/>
              </a:rPr>
              <a:t>                                                                                                                                                                                                                         GEA INTERNAL</a:t>
            </a:r>
            <a:endParaRPr lang="de-DE" sz="700" err="1">
              <a:solidFill>
                <a:srgbClr val="0303B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1226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670" r:id="rId7"/>
    <p:sldLayoutId id="2147483672" r:id="rId8"/>
    <p:sldLayoutId id="2147483673" r:id="rId9"/>
    <p:sldLayoutId id="2147483701" r:id="rId10"/>
    <p:sldLayoutId id="2147483702" r:id="rId11"/>
    <p:sldLayoutId id="2147483703" r:id="rId12"/>
    <p:sldLayoutId id="2147483661" r:id="rId13"/>
    <p:sldLayoutId id="2147483662" r:id="rId14"/>
    <p:sldLayoutId id="2147483665" r:id="rId15"/>
    <p:sldLayoutId id="2147483663" r:id="rId16"/>
    <p:sldLayoutId id="2147483666" r:id="rId17"/>
    <p:sldLayoutId id="2147483667" r:id="rId18"/>
    <p:sldLayoutId id="2147483668" r:id="rId19"/>
    <p:sldLayoutId id="2147483669" r:id="rId20"/>
    <p:sldLayoutId id="2147483664" r:id="rId21"/>
    <p:sldLayoutId id="2147483680" r:id="rId22"/>
    <p:sldLayoutId id="2147483679" r:id="rId23"/>
    <p:sldLayoutId id="2147483678" r:id="rId24"/>
    <p:sldLayoutId id="2147483684" r:id="rId25"/>
    <p:sldLayoutId id="2147483685" r:id="rId26"/>
    <p:sldLayoutId id="2147483686" r:id="rId27"/>
    <p:sldLayoutId id="2147483687" r:id="rId28"/>
    <p:sldLayoutId id="2147483688" r:id="rId29"/>
    <p:sldLayoutId id="2147483689" r:id="rId30"/>
    <p:sldLayoutId id="2147483692" r:id="rId31"/>
    <p:sldLayoutId id="2147483690" r:id="rId32"/>
    <p:sldLayoutId id="2147483693" r:id="rId33"/>
    <p:sldLayoutId id="2147483691" r:id="rId34"/>
    <p:sldLayoutId id="2147483694" r:id="rId35"/>
    <p:sldLayoutId id="2147483695" r:id="rId36"/>
    <p:sldLayoutId id="2147483696" r:id="rId37"/>
    <p:sldLayoutId id="2147483681" r:id="rId38"/>
    <p:sldLayoutId id="2147483704" r:id="rId39"/>
    <p:sldLayoutId id="2147483682" r:id="rId40"/>
    <p:sldLayoutId id="2147483705" r:id="rId41"/>
    <p:sldLayoutId id="2147483697" r:id="rId42"/>
    <p:sldLayoutId id="2147483698" r:id="rId43"/>
    <p:sldLayoutId id="2147483699" r:id="rId44"/>
    <p:sldLayoutId id="2147483700" r:id="rId45"/>
    <p:sldLayoutId id="2147483711" r:id="rId46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76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66">
          <p15:clr>
            <a:srgbClr val="F26B43"/>
          </p15:clr>
        </p15:guide>
        <p15:guide id="3" pos="7514">
          <p15:clr>
            <a:srgbClr val="F26B43"/>
          </p15:clr>
        </p15:guide>
        <p15:guide id="4" orient="horz" pos="1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5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5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58.xml"/><Relationship Id="rId4" Type="http://schemas.openxmlformats.org/officeDocument/2006/relationships/image" Target="../media/image1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5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video" Target="../media/media1.mov"/><Relationship Id="rId2" Type="http://schemas.microsoft.com/office/2007/relationships/media" Target="../media/media1.mov"/><Relationship Id="rId1" Type="http://schemas.openxmlformats.org/officeDocument/2006/relationships/tags" Target="../tags/tag60.xml"/><Relationship Id="rId5" Type="http://schemas.openxmlformats.org/officeDocument/2006/relationships/image" Target="../media/image17.png"/><Relationship Id="rId4" Type="http://schemas.openxmlformats.org/officeDocument/2006/relationships/slideLayout" Target="../slideLayouts/slideLayout4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6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62.xml"/><Relationship Id="rId4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63.xml"/><Relationship Id="rId4" Type="http://schemas.openxmlformats.org/officeDocument/2006/relationships/image" Target="../media/image21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64.xml"/><Relationship Id="rId4" Type="http://schemas.openxmlformats.org/officeDocument/2006/relationships/image" Target="../media/image2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65.xml"/><Relationship Id="rId4" Type="http://schemas.openxmlformats.org/officeDocument/2006/relationships/image" Target="../media/image2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6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6.xml"/><Relationship Id="rId1" Type="http://schemas.openxmlformats.org/officeDocument/2006/relationships/tags" Target="../tags/tag6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5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5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5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5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54.xml"/><Relationship Id="rId4" Type="http://schemas.openxmlformats.org/officeDocument/2006/relationships/image" Target="../media/image10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B67F5510-5A85-4A32-8D89-027C4F3E23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0680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B67F5510-5A85-4A32-8D89-027C4F3E2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>
            <a:extLst>
              <a:ext uri="{FF2B5EF4-FFF2-40B4-BE49-F238E27FC236}">
                <a16:creationId xmlns:a16="http://schemas.microsoft.com/office/drawing/2014/main" id="{0D66F4A6-1A8C-4975-A6F6-AC1B75446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2165734"/>
            <a:ext cx="10442576" cy="1883593"/>
          </a:xfrm>
        </p:spPr>
        <p:txBody>
          <a:bodyPr/>
          <a:lstStyle/>
          <a:p>
            <a:r>
              <a:rPr lang="ru-RU" dirty="0">
                <a:latin typeface="GEA Sans Bold"/>
              </a:rPr>
              <a:t>Системы вентиляции на МТФ для северного и южного Казахстана</a:t>
            </a:r>
            <a:endParaRPr lang="en-US" dirty="0">
              <a:latin typeface="GEA Sans Bold"/>
            </a:endParaRP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4AF04904-5DDE-4F1F-8A6A-692CED4012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63524" y="4357103"/>
            <a:ext cx="4299597" cy="246221"/>
          </a:xfrm>
        </p:spPr>
        <p:txBody>
          <a:bodyPr/>
          <a:lstStyle/>
          <a:p>
            <a:r>
              <a:rPr lang="ru-RU" dirty="0"/>
              <a:t>Примеры окупаемости</a:t>
            </a:r>
          </a:p>
          <a:p>
            <a:r>
              <a:rPr lang="ru-RU" dirty="0"/>
              <a:t>Технологии</a:t>
            </a:r>
            <a:endParaRPr lang="en-US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EC95002B-4E3E-406C-9629-AD51407D5C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ru-RU" dirty="0"/>
              <a:t>Астана</a:t>
            </a:r>
            <a:r>
              <a:rPr lang="en-US" dirty="0"/>
              <a:t>, </a:t>
            </a:r>
            <a:r>
              <a:rPr lang="ru-RU" dirty="0"/>
              <a:t>04</a:t>
            </a:r>
            <a:r>
              <a:rPr lang="en-US" dirty="0"/>
              <a:t>.0</a:t>
            </a:r>
            <a:r>
              <a:rPr lang="ru-RU" dirty="0"/>
              <a:t>7</a:t>
            </a:r>
            <a:r>
              <a:rPr lang="en-US" dirty="0"/>
              <a:t>.202</a:t>
            </a:r>
            <a:r>
              <a:rPr lang="ru-RU" dirty="0"/>
              <a:t>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94298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еньково. Московская область. РФ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6619FA-62B9-4C58-8D46-9877ED4AF800}" type="slidenum">
              <a:rPr lang="en-US" smtClean="0"/>
              <a:pPr/>
              <a:t>10</a:t>
            </a:fld>
            <a:r>
              <a:rPr lang="en-US"/>
              <a:t>  </a:t>
            </a:r>
            <a:endParaRPr lang="en-US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EAE6F824-4D87-4450-95DD-E5943763DC9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1801" y="894052"/>
            <a:ext cx="5037823" cy="5368751"/>
          </a:xfrm>
        </p:spPr>
        <p:txBody>
          <a:bodyPr/>
          <a:lstStyle/>
          <a:p>
            <a:r>
              <a:rPr lang="ru-RU" dirty="0"/>
              <a:t>Основные показатели: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186,7 м х 116,7 м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1800 дойного 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11 000 литров на фуражную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Запуск Ноябрь 2018 года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Средние затраты на электроэнергию 550 тыс. рублей (Июль 2021 года)</a:t>
            </a: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Входит в Агрохолдинг ОСП-Агро</a:t>
            </a:r>
          </a:p>
          <a:p>
            <a:pPr marL="457200" indent="-457200">
              <a:buFont typeface="+mj-lt"/>
              <a:buAutoNum type="arabicPeriod"/>
            </a:pPr>
            <a:endParaRPr lang="ru-RU" dirty="0"/>
          </a:p>
          <a:p>
            <a:pPr marL="0" indent="0">
              <a:buNone/>
            </a:pPr>
            <a:br>
              <a:rPr lang="ru-RU" dirty="0"/>
            </a:br>
            <a:endParaRPr lang="de-DE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8A15E20-4EEE-2876-1DE9-E1D89C45A7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5393" y="753375"/>
            <a:ext cx="6621782" cy="41885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13696181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еньково. Оборудование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6619FA-62B9-4C58-8D46-9877ED4AF800}" type="slidenum">
              <a:rPr lang="en-US" smtClean="0"/>
              <a:pPr/>
              <a:t>11</a:t>
            </a:fld>
            <a:r>
              <a:rPr lang="en-US"/>
              <a:t>  </a:t>
            </a:r>
            <a:endParaRPr lang="en-US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65C4F6F-A894-1682-94BA-6D6725A660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6053" y="729291"/>
            <a:ext cx="5044251" cy="3817271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59C7C68-1130-5BAF-45A7-0BC135BB67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4939" y="4734211"/>
            <a:ext cx="11222016" cy="1533739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C0404CD-8F95-DDC1-8978-958F2CA542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1801" y="729291"/>
            <a:ext cx="5306165" cy="398200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36976142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еньково. Оборудование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6619FA-62B9-4C58-8D46-9877ED4AF800}" type="slidenum">
              <a:rPr lang="en-US" smtClean="0"/>
              <a:pPr/>
              <a:t>12</a:t>
            </a:fld>
            <a:r>
              <a:rPr lang="en-US"/>
              <a:t>  </a:t>
            </a:r>
            <a:endParaRPr lang="en-US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5869628-02D0-CD11-C6EC-3E0206B615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5486" y="725132"/>
            <a:ext cx="5278665" cy="4456468"/>
          </a:xfrm>
          <a:prstGeom prst="rect">
            <a:avLst/>
          </a:prstGeom>
        </p:spPr>
      </p:pic>
      <p:pic>
        <p:nvPicPr>
          <p:cNvPr id="6" name="Рисунок 5" descr="Изображение выглядит как в помещении, потолок&#10;&#10;Автоматически созданное описание">
            <a:extLst>
              <a:ext uri="{FF2B5EF4-FFF2-40B4-BE49-F238E27FC236}">
                <a16:creationId xmlns:a16="http://schemas.microsoft.com/office/drawing/2014/main" id="{5EEB03DA-BAC9-27D9-4ACA-D3C224E4CB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8584" y="725132"/>
            <a:ext cx="5941959" cy="445646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9135990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еньково. Оборудование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6619FA-62B9-4C58-8D46-9877ED4AF800}" type="slidenum">
              <a:rPr lang="en-US" smtClean="0"/>
              <a:pPr/>
              <a:t>13</a:t>
            </a:fld>
            <a:r>
              <a:rPr lang="en-US"/>
              <a:t>  </a:t>
            </a:r>
            <a:endParaRPr lang="en-US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EAE6F824-4D87-4450-95DD-E5943763DC9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1798" y="941033"/>
            <a:ext cx="5180437" cy="5368751"/>
          </a:xfrm>
        </p:spPr>
        <p:txBody>
          <a:bodyPr/>
          <a:lstStyle/>
          <a:p>
            <a:r>
              <a:rPr lang="ru-RU" dirty="0"/>
              <a:t>Орошение: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Мелкодисперсное орошение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Установлено над шторами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2 линии:</a:t>
            </a:r>
            <a:br>
              <a:rPr lang="ru-RU" dirty="0"/>
            </a:br>
            <a:r>
              <a:rPr lang="ru-RU" dirty="0"/>
              <a:t>1-ая включается при 21 ⁰С</a:t>
            </a:r>
            <a:br>
              <a:rPr lang="ru-RU" dirty="0"/>
            </a:br>
            <a:r>
              <a:rPr lang="ru-RU" dirty="0"/>
              <a:t>2-ая включается при 24 ⁰С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Увлажняет воздух, а не коров!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Июль 2021 года:</a:t>
            </a:r>
            <a:br>
              <a:rPr lang="ru-RU" dirty="0"/>
            </a:br>
            <a:r>
              <a:rPr lang="en-US" dirty="0"/>
              <a:t>T </a:t>
            </a:r>
            <a:r>
              <a:rPr lang="ru-RU" dirty="0"/>
              <a:t>на улице = </a:t>
            </a:r>
            <a:r>
              <a:rPr lang="ru-RU" dirty="0">
                <a:solidFill>
                  <a:srgbClr val="FF0000"/>
                </a:solidFill>
              </a:rPr>
              <a:t>34⁰С</a:t>
            </a:r>
            <a:br>
              <a:rPr lang="ru-RU" dirty="0"/>
            </a:br>
            <a:r>
              <a:rPr lang="ru-RU" dirty="0"/>
              <a:t>Т внутри коровника = </a:t>
            </a:r>
            <a:r>
              <a:rPr lang="ru-RU" dirty="0">
                <a:solidFill>
                  <a:schemeClr val="tx2">
                    <a:lumMod val="60000"/>
                    <a:lumOff val="40000"/>
                  </a:schemeClr>
                </a:solidFill>
              </a:rPr>
              <a:t>21 ⁰С</a:t>
            </a:r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br>
              <a:rPr lang="ru-RU" dirty="0"/>
            </a:br>
            <a:endParaRPr lang="de-DE" dirty="0"/>
          </a:p>
        </p:txBody>
      </p:sp>
      <p:pic>
        <p:nvPicPr>
          <p:cNvPr id="6" name="Рисунок 5" descr="Изображение выглядит как в помещении, потолок&#10;&#10;Автоматически созданное описание">
            <a:extLst>
              <a:ext uri="{FF2B5EF4-FFF2-40B4-BE49-F238E27FC236}">
                <a16:creationId xmlns:a16="http://schemas.microsoft.com/office/drawing/2014/main" id="{8940D63F-8CDD-C6F0-7363-E82A468942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7284" y="941032"/>
            <a:ext cx="6496868" cy="48726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74461949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рошение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6619FA-62B9-4C58-8D46-9877ED4AF800}" type="slidenum">
              <a:rPr lang="en-US" smtClean="0"/>
              <a:pPr/>
              <a:t>14</a:t>
            </a:fld>
            <a:r>
              <a:rPr lang="en-US"/>
              <a:t>  </a:t>
            </a:r>
            <a:endParaRPr lang="en-US" dirty="0"/>
          </a:p>
        </p:txBody>
      </p:sp>
      <p:pic>
        <p:nvPicPr>
          <p:cNvPr id="2" name="video-10-04-23-11-15">
            <a:hlinkClick r:id="" action="ppaction://media"/>
            <a:extLst>
              <a:ext uri="{FF2B5EF4-FFF2-40B4-BE49-F238E27FC236}">
                <a16:creationId xmlns:a16="http://schemas.microsoft.com/office/drawing/2014/main" id="{A371CDF3-3B23-D589-9D3A-41361EC66B6B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431801" y="626766"/>
            <a:ext cx="10255064" cy="580475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2138893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6122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9559" y="173113"/>
            <a:ext cx="10248899" cy="461665"/>
          </a:xfrm>
        </p:spPr>
        <p:txBody>
          <a:bodyPr/>
          <a:lstStyle/>
          <a:p>
            <a:r>
              <a:rPr lang="ru-RU" dirty="0"/>
              <a:t>ОСП-АГРО</a:t>
            </a:r>
            <a:r>
              <a:rPr lang="en-US" dirty="0"/>
              <a:t>. </a:t>
            </a:r>
            <a:r>
              <a:rPr lang="ru-RU" dirty="0"/>
              <a:t>Показатели надоев в летний период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6619FA-62B9-4C58-8D46-9877ED4AF800}" type="slidenum">
              <a:rPr lang="en-US" smtClean="0"/>
              <a:pPr/>
              <a:t>15</a:t>
            </a:fld>
            <a:r>
              <a:rPr lang="en-US"/>
              <a:t>  </a:t>
            </a:r>
            <a:endParaRPr lang="en-US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EAE6F824-4D87-4450-95DD-E5943763DC9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1801" y="807891"/>
            <a:ext cx="5346699" cy="1490809"/>
          </a:xfrm>
        </p:spPr>
        <p:txBody>
          <a:bodyPr/>
          <a:lstStyle/>
          <a:p>
            <a:r>
              <a:rPr lang="ru-RU" dirty="0"/>
              <a:t>Комплексы с естественной вентиляцией:</a:t>
            </a:r>
          </a:p>
          <a:p>
            <a:pPr marL="0" indent="0">
              <a:buNone/>
            </a:pPr>
            <a:r>
              <a:rPr lang="ru-RU" dirty="0"/>
              <a:t>       28 литров на голову/день</a:t>
            </a:r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br>
              <a:rPr lang="ru-RU" dirty="0"/>
            </a:br>
            <a:br>
              <a:rPr lang="ru-RU" dirty="0"/>
            </a:br>
            <a:endParaRPr lang="ru-RU" dirty="0"/>
          </a:p>
          <a:p>
            <a:pPr marL="0" indent="0">
              <a:buNone/>
            </a:pPr>
            <a:br>
              <a:rPr lang="ru-RU" dirty="0"/>
            </a:br>
            <a:endParaRPr lang="de-DE" dirty="0"/>
          </a:p>
        </p:txBody>
      </p:sp>
      <p:sp>
        <p:nvSpPr>
          <p:cNvPr id="7" name="Inhaltsplatzhalter 7">
            <a:extLst>
              <a:ext uri="{FF2B5EF4-FFF2-40B4-BE49-F238E27FC236}">
                <a16:creationId xmlns:a16="http://schemas.microsoft.com/office/drawing/2014/main" id="{3F8FC4B6-A32D-2AFC-B6ED-8917CF331A10}"/>
              </a:ext>
            </a:extLst>
          </p:cNvPr>
          <p:cNvSpPr txBox="1">
            <a:spLocks/>
          </p:cNvSpPr>
          <p:nvPr/>
        </p:nvSpPr>
        <p:spPr>
          <a:xfrm>
            <a:off x="6267452" y="807891"/>
            <a:ext cx="5346699" cy="10463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9976" indent="-241289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6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59976" indent="-239994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8003" indent="-239994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Комплекс с Кросс-Вентиляцией: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ru-RU" dirty="0"/>
              <a:t>    36 литров на голову/день</a:t>
            </a:r>
          </a:p>
          <a:p>
            <a:pPr marL="0" indent="0">
              <a:buFont typeface="Wingdings" panose="05000000000000000000" pitchFamily="2" charset="2"/>
              <a:buNone/>
            </a:pPr>
            <a:br>
              <a:rPr lang="ru-RU" dirty="0"/>
            </a:br>
            <a:br>
              <a:rPr lang="ru-RU" dirty="0"/>
            </a:br>
            <a:endParaRPr lang="ru-RU" dirty="0"/>
          </a:p>
          <a:p>
            <a:pPr marL="0" indent="0">
              <a:buFont typeface="Wingdings" panose="05000000000000000000" pitchFamily="2" charset="2"/>
              <a:buNone/>
            </a:pPr>
            <a:br>
              <a:rPr lang="ru-RU" dirty="0"/>
            </a:br>
            <a:endParaRPr lang="de-DE" dirty="0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62BE397-20A8-6026-50DE-82E37B8C2819}"/>
              </a:ext>
            </a:extLst>
          </p:cNvPr>
          <p:cNvSpPr txBox="1">
            <a:spLocks/>
          </p:cNvSpPr>
          <p:nvPr/>
        </p:nvSpPr>
        <p:spPr>
          <a:xfrm>
            <a:off x="1647826" y="2503102"/>
            <a:ext cx="8896348" cy="21175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9976" indent="-241289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6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59976" indent="-239994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8003" indent="-239994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Сравнение: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ru-RU" dirty="0"/>
              <a:t>36-28= 8 литров/голова/день разница надоев между коровниками с естественной вентиляцией и кросс вентиляцией</a:t>
            </a:r>
            <a:endParaRPr lang="ru-RU" u="sng" dirty="0"/>
          </a:p>
          <a:p>
            <a:pPr marL="0" indent="0">
              <a:buFont typeface="Wingdings" panose="05000000000000000000" pitchFamily="2" charset="2"/>
              <a:buNone/>
            </a:pPr>
            <a:r>
              <a:rPr lang="ru-RU" dirty="0"/>
              <a:t>        8*200=1 600 </a:t>
            </a:r>
            <a:r>
              <a:rPr lang="en-US" dirty="0"/>
              <a:t>KZT</a:t>
            </a:r>
            <a:r>
              <a:rPr lang="ru-RU" dirty="0"/>
              <a:t>/день – разница на голову</a:t>
            </a:r>
            <a:r>
              <a:rPr lang="en-US" dirty="0"/>
              <a:t>/KZT/</a:t>
            </a:r>
            <a:r>
              <a:rPr lang="ru-RU" dirty="0"/>
              <a:t>день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ru-RU" dirty="0"/>
              <a:t>        1600*1 800= 2 880 000 </a:t>
            </a:r>
            <a:r>
              <a:rPr lang="en-US" dirty="0"/>
              <a:t>KZT/</a:t>
            </a:r>
            <a:r>
              <a:rPr lang="ru-RU" dirty="0"/>
              <a:t>день</a:t>
            </a:r>
          </a:p>
          <a:p>
            <a:pPr marL="0" indent="0">
              <a:buNone/>
            </a:pPr>
            <a:r>
              <a:rPr lang="ru-RU" dirty="0"/>
              <a:t>        2 880 000*92= </a:t>
            </a:r>
            <a:r>
              <a:rPr lang="ru-RU" b="1" dirty="0"/>
              <a:t>264 960 000 </a:t>
            </a:r>
            <a:r>
              <a:rPr lang="en-US" b="1" dirty="0"/>
              <a:t>KZT</a:t>
            </a:r>
            <a:r>
              <a:rPr lang="ru-RU" b="1" dirty="0"/>
              <a:t>/лето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ru-RU" dirty="0"/>
          </a:p>
          <a:p>
            <a:pPr marL="0" indent="0">
              <a:buFont typeface="Wingdings" panose="05000000000000000000" pitchFamily="2" charset="2"/>
              <a:buNone/>
            </a:pPr>
            <a:r>
              <a:rPr lang="ru-RU" dirty="0"/>
              <a:t>        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ru-RU" dirty="0"/>
          </a:p>
          <a:p>
            <a:pPr marL="0" indent="0">
              <a:buFont typeface="Wingdings" panose="05000000000000000000" pitchFamily="2" charset="2"/>
              <a:buNone/>
            </a:pPr>
            <a:br>
              <a:rPr lang="ru-RU" dirty="0"/>
            </a:br>
            <a:br>
              <a:rPr lang="ru-RU" dirty="0"/>
            </a:br>
            <a:endParaRPr lang="ru-RU" dirty="0"/>
          </a:p>
          <a:p>
            <a:pPr marL="0" indent="0">
              <a:buFont typeface="Wingdings" panose="05000000000000000000" pitchFamily="2" charset="2"/>
              <a:buNone/>
            </a:pPr>
            <a:br>
              <a:rPr lang="ru-RU" dirty="0"/>
            </a:br>
            <a:endParaRPr lang="de-DE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71AFF83-C218-A675-1D78-3E3E6198398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8000"/>
          </a:blip>
          <a:stretch>
            <a:fillRect/>
          </a:stretch>
        </p:blipFill>
        <p:spPr>
          <a:xfrm>
            <a:off x="493058" y="0"/>
            <a:ext cx="11205883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5427069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енницы</a:t>
            </a:r>
            <a:r>
              <a:rPr lang="en-US" dirty="0"/>
              <a:t>. </a:t>
            </a:r>
            <a:r>
              <a:rPr lang="ru-RU" dirty="0"/>
              <a:t>Московская область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6619FA-62B9-4C58-8D46-9877ED4AF800}" type="slidenum">
              <a:rPr lang="en-US" smtClean="0"/>
              <a:pPr/>
              <a:t>16</a:t>
            </a:fld>
            <a:r>
              <a:rPr lang="en-US"/>
              <a:t>  </a:t>
            </a:r>
            <a:endParaRPr lang="en-US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EAE6F824-4D87-4450-95DD-E5943763DC9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1799" y="941033"/>
            <a:ext cx="4646279" cy="5368751"/>
          </a:xfrm>
        </p:spPr>
        <p:txBody>
          <a:bodyPr/>
          <a:lstStyle/>
          <a:p>
            <a:r>
              <a:rPr lang="ru-RU" dirty="0"/>
              <a:t>Основные показатели: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218,0 м х 59,0 м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Высота в коньке 8,95 м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Уклон крыши 8⁰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1200 голов</a:t>
            </a:r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br>
              <a:rPr lang="ru-RU" dirty="0"/>
            </a:br>
            <a:endParaRPr lang="de-DE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E14487B-1E87-9682-3441-CE964E8B03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835" y="2803588"/>
            <a:ext cx="11711031" cy="3367878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8112CAC8-E167-42D9-D564-5B8674A153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8016870" y="-1078062"/>
            <a:ext cx="1941728" cy="554493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82527590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енницы. Оборудование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6619FA-62B9-4C58-8D46-9877ED4AF800}" type="slidenum">
              <a:rPr lang="en-US" smtClean="0"/>
              <a:pPr/>
              <a:t>17</a:t>
            </a:fld>
            <a:r>
              <a:rPr lang="en-US"/>
              <a:t>  </a:t>
            </a:r>
            <a:endParaRPr lang="en-US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EAE6F824-4D87-4450-95DD-E5943763DC9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1801" y="4738661"/>
            <a:ext cx="9133397" cy="2669743"/>
          </a:xfrm>
        </p:spPr>
        <p:txBody>
          <a:bodyPr/>
          <a:lstStyle/>
          <a:p>
            <a:r>
              <a:rPr lang="ru-RU" dirty="0"/>
              <a:t>Оборудование</a:t>
            </a:r>
            <a:r>
              <a:rPr lang="en-US" dirty="0"/>
              <a:t>. </a:t>
            </a:r>
            <a:r>
              <a:rPr lang="ru-RU" dirty="0"/>
              <a:t>Вытяжные вентиляторы 72” Mega </a:t>
            </a:r>
            <a:r>
              <a:rPr lang="ru-RU" dirty="0" err="1"/>
              <a:t>Torque</a:t>
            </a:r>
            <a:r>
              <a:rPr lang="ru-RU" dirty="0"/>
              <a:t>: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20 вытяжных вентиляторов </a:t>
            </a:r>
            <a:r>
              <a:rPr lang="en-US" dirty="0"/>
              <a:t>72” Mega Torque </a:t>
            </a:r>
            <a:r>
              <a:rPr lang="en-US" dirty="0">
                <a:solidFill>
                  <a:srgbClr val="FF0000"/>
                </a:solidFill>
              </a:rPr>
              <a:t>(</a:t>
            </a:r>
            <a:r>
              <a:rPr lang="ru-RU" dirty="0">
                <a:solidFill>
                  <a:srgbClr val="FF0000"/>
                </a:solidFill>
              </a:rPr>
              <a:t>Рекомендовано 32!!</a:t>
            </a:r>
            <a:r>
              <a:rPr lang="en-US" dirty="0">
                <a:solidFill>
                  <a:srgbClr val="FF0000"/>
                </a:solidFill>
              </a:rPr>
              <a:t>)</a:t>
            </a:r>
            <a:endParaRPr lang="ru-RU" dirty="0">
              <a:solidFill>
                <a:srgbClr val="FF0000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Трёх-секционная штора </a:t>
            </a:r>
            <a:r>
              <a:rPr lang="ru-RU" dirty="0">
                <a:solidFill>
                  <a:srgbClr val="FF0000"/>
                </a:solidFill>
              </a:rPr>
              <a:t>(рекомендовано двух-секционная)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Система климат-контроля</a:t>
            </a:r>
          </a:p>
          <a:p>
            <a:pPr marL="457200" indent="-457200">
              <a:buFont typeface="+mj-lt"/>
              <a:buAutoNum type="arabicPeriod"/>
            </a:pPr>
            <a:endParaRPr lang="ru-RU" dirty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br>
              <a:rPr lang="ru-RU" dirty="0"/>
            </a:br>
            <a:endParaRPr lang="de-DE" dirty="0"/>
          </a:p>
        </p:txBody>
      </p:sp>
      <p:pic>
        <p:nvPicPr>
          <p:cNvPr id="6" name="Рисунок 5" descr="Изображение выглядит как снег, на открытом воздухе&#10;&#10;Автоматически созданное описание">
            <a:extLst>
              <a:ext uri="{FF2B5EF4-FFF2-40B4-BE49-F238E27FC236}">
                <a16:creationId xmlns:a16="http://schemas.microsoft.com/office/drawing/2014/main" id="{D66263D0-466C-B844-0213-C3766AE008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0347" y="626765"/>
            <a:ext cx="5201175" cy="3900881"/>
          </a:xfrm>
          <a:prstGeom prst="rect">
            <a:avLst/>
          </a:prstGeom>
        </p:spPr>
      </p:pic>
      <p:pic>
        <p:nvPicPr>
          <p:cNvPr id="2" name="Рисунок 1" descr="Изображение выглядит как трава, на открытом воздухе, небо, строительство&#10;&#10;Автоматически созданное описание">
            <a:extLst>
              <a:ext uri="{FF2B5EF4-FFF2-40B4-BE49-F238E27FC236}">
                <a16:creationId xmlns:a16="http://schemas.microsoft.com/office/drawing/2014/main" id="{3862DA63-4CFB-04F8-2CC7-77F134472A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801" y="626765"/>
            <a:ext cx="5003849" cy="39008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61298400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енницы. Показатели вентиляции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6619FA-62B9-4C58-8D46-9877ED4AF800}" type="slidenum">
              <a:rPr lang="en-US" smtClean="0"/>
              <a:pPr/>
              <a:t>18</a:t>
            </a:fld>
            <a:r>
              <a:rPr lang="en-US"/>
              <a:t>  </a:t>
            </a:r>
            <a:endParaRPr lang="en-US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EAE6F824-4D87-4450-95DD-E5943763DC9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1799" y="941033"/>
            <a:ext cx="6639561" cy="5368751"/>
          </a:xfrm>
        </p:spPr>
        <p:txBody>
          <a:bodyPr/>
          <a:lstStyle/>
          <a:p>
            <a:r>
              <a:rPr lang="ru-RU" dirty="0"/>
              <a:t>Шторы открыты полностью: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0,8 м/с в дальней зоне содержания животных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1,2 м/с в ближней зоне содержания животных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1,4 м/с около галереи</a:t>
            </a:r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br>
              <a:rPr lang="ru-RU" dirty="0"/>
            </a:br>
            <a:endParaRPr lang="de-DE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E14487B-1E87-9682-3441-CE964E8B03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835" y="2803588"/>
            <a:ext cx="11711031" cy="3367878"/>
          </a:xfrm>
          <a:prstGeom prst="rect">
            <a:avLst/>
          </a:prstGeom>
        </p:spPr>
      </p:pic>
      <p:sp>
        <p:nvSpPr>
          <p:cNvPr id="2" name="Стрелка: вправо 1">
            <a:extLst>
              <a:ext uri="{FF2B5EF4-FFF2-40B4-BE49-F238E27FC236}">
                <a16:creationId xmlns:a16="http://schemas.microsoft.com/office/drawing/2014/main" id="{BA0703BC-AEF3-E2EF-67D9-2FB91235589A}"/>
              </a:ext>
            </a:extLst>
          </p:cNvPr>
          <p:cNvSpPr/>
          <p:nvPr/>
        </p:nvSpPr>
        <p:spPr>
          <a:xfrm>
            <a:off x="4907280" y="4152900"/>
            <a:ext cx="1249680" cy="495300"/>
          </a:xfrm>
          <a:prstGeom prst="rightArrow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174625" indent="-174625" algn="l">
              <a:buFont typeface="Wingdings" panose="05000000000000000000" pitchFamily="2" charset="2"/>
              <a:buChar char="§"/>
            </a:pPr>
            <a:endParaRPr lang="ru-RU" sz="1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54313A4-DE1B-EF0F-20AE-975A51FEF6F9}"/>
              </a:ext>
            </a:extLst>
          </p:cNvPr>
          <p:cNvSpPr txBox="1"/>
          <p:nvPr/>
        </p:nvSpPr>
        <p:spPr>
          <a:xfrm>
            <a:off x="1379220" y="3471519"/>
            <a:ext cx="114300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ru-RU" sz="2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0,8 м/с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862BC9-A428-0245-2535-E05F852BA79B}"/>
              </a:ext>
            </a:extLst>
          </p:cNvPr>
          <p:cNvSpPr txBox="1"/>
          <p:nvPr/>
        </p:nvSpPr>
        <p:spPr>
          <a:xfrm>
            <a:off x="1440180" y="4942179"/>
            <a:ext cx="114300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ru-RU" sz="2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0,8 м/с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15818FA-687E-C61D-ED43-C9F8B847D325}"/>
              </a:ext>
            </a:extLst>
          </p:cNvPr>
          <p:cNvSpPr txBox="1"/>
          <p:nvPr/>
        </p:nvSpPr>
        <p:spPr>
          <a:xfrm>
            <a:off x="9646920" y="4942179"/>
            <a:ext cx="109728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ru-RU" sz="2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1,2 м/с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8D7E837-D8B2-2F51-A502-18BDEB4E7203}"/>
              </a:ext>
            </a:extLst>
          </p:cNvPr>
          <p:cNvSpPr txBox="1"/>
          <p:nvPr/>
        </p:nvSpPr>
        <p:spPr>
          <a:xfrm>
            <a:off x="9646920" y="3471519"/>
            <a:ext cx="109728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ru-RU" sz="2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1,2 м/с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C19279F-1CD9-6A8D-BEC0-6344F02F5C7A}"/>
              </a:ext>
            </a:extLst>
          </p:cNvPr>
          <p:cNvSpPr txBox="1"/>
          <p:nvPr/>
        </p:nvSpPr>
        <p:spPr>
          <a:xfrm>
            <a:off x="5716579" y="3231166"/>
            <a:ext cx="109728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ru-RU" sz="2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1,4 м/с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1899476-D73E-BE03-B5FA-D7714AD6C236}"/>
              </a:ext>
            </a:extLst>
          </p:cNvPr>
          <p:cNvSpPr txBox="1"/>
          <p:nvPr/>
        </p:nvSpPr>
        <p:spPr>
          <a:xfrm>
            <a:off x="5686099" y="5249956"/>
            <a:ext cx="109728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ru-RU" sz="2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1,4 м/с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DC21CBF-EE2E-1D04-02A2-CAE6DE5B4B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77324" y="317270"/>
            <a:ext cx="4127769" cy="248631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68455961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енницы. Показатели вентиляции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6619FA-62B9-4C58-8D46-9877ED4AF800}" type="slidenum">
              <a:rPr lang="en-US" smtClean="0"/>
              <a:pPr/>
              <a:t>19</a:t>
            </a:fld>
            <a:r>
              <a:rPr lang="en-US"/>
              <a:t>  </a:t>
            </a:r>
            <a:endParaRPr lang="en-US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EAE6F824-4D87-4450-95DD-E5943763DC9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1799" y="941033"/>
            <a:ext cx="5940142" cy="5368751"/>
          </a:xfrm>
        </p:spPr>
        <p:txBody>
          <a:bodyPr/>
          <a:lstStyle/>
          <a:p>
            <a:r>
              <a:rPr lang="ru-RU" dirty="0"/>
              <a:t>Шторы открыты с соответствии с программой: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1,2 м/с в дальней зоне содержания животных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1,5 м/с в дальней зоне содержания животных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1,6 м/с около галереи</a:t>
            </a:r>
          </a:p>
          <a:p>
            <a:pPr marL="457200" indent="-457200">
              <a:buFont typeface="+mj-lt"/>
              <a:buAutoNum type="arabicPeriod"/>
            </a:pPr>
            <a:endParaRPr lang="ru-RU" dirty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br>
              <a:rPr lang="ru-RU" dirty="0"/>
            </a:br>
            <a:endParaRPr lang="de-DE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E14487B-1E87-9682-3441-CE964E8B03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835" y="2803588"/>
            <a:ext cx="11711031" cy="3367878"/>
          </a:xfrm>
          <a:prstGeom prst="rect">
            <a:avLst/>
          </a:prstGeom>
        </p:spPr>
      </p:pic>
      <p:sp>
        <p:nvSpPr>
          <p:cNvPr id="2" name="Стрелка: вправо 1">
            <a:extLst>
              <a:ext uri="{FF2B5EF4-FFF2-40B4-BE49-F238E27FC236}">
                <a16:creationId xmlns:a16="http://schemas.microsoft.com/office/drawing/2014/main" id="{BA0703BC-AEF3-E2EF-67D9-2FB91235589A}"/>
              </a:ext>
            </a:extLst>
          </p:cNvPr>
          <p:cNvSpPr/>
          <p:nvPr/>
        </p:nvSpPr>
        <p:spPr>
          <a:xfrm>
            <a:off x="4907280" y="4152900"/>
            <a:ext cx="1249680" cy="495300"/>
          </a:xfrm>
          <a:prstGeom prst="rightArrow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174625" indent="-174625" algn="l">
              <a:buFont typeface="Wingdings" panose="05000000000000000000" pitchFamily="2" charset="2"/>
              <a:buChar char="§"/>
            </a:pPr>
            <a:endParaRPr lang="ru-RU" sz="1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54313A4-DE1B-EF0F-20AE-975A51FEF6F9}"/>
              </a:ext>
            </a:extLst>
          </p:cNvPr>
          <p:cNvSpPr txBox="1"/>
          <p:nvPr/>
        </p:nvSpPr>
        <p:spPr>
          <a:xfrm>
            <a:off x="1379220" y="3471519"/>
            <a:ext cx="114300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ru-RU" sz="2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1,2 м/с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862BC9-A428-0245-2535-E05F852BA79B}"/>
              </a:ext>
            </a:extLst>
          </p:cNvPr>
          <p:cNvSpPr txBox="1"/>
          <p:nvPr/>
        </p:nvSpPr>
        <p:spPr>
          <a:xfrm>
            <a:off x="1440180" y="4942179"/>
            <a:ext cx="114300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ru-RU" sz="2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1,2 м/с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15818FA-687E-C61D-ED43-C9F8B847D325}"/>
              </a:ext>
            </a:extLst>
          </p:cNvPr>
          <p:cNvSpPr txBox="1"/>
          <p:nvPr/>
        </p:nvSpPr>
        <p:spPr>
          <a:xfrm>
            <a:off x="9646920" y="4942179"/>
            <a:ext cx="109728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ru-RU" sz="2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1,5 м/с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8D7E837-D8B2-2F51-A502-18BDEB4E7203}"/>
              </a:ext>
            </a:extLst>
          </p:cNvPr>
          <p:cNvSpPr txBox="1"/>
          <p:nvPr/>
        </p:nvSpPr>
        <p:spPr>
          <a:xfrm>
            <a:off x="9646920" y="3471519"/>
            <a:ext cx="109728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ru-RU" sz="2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1,5 м/с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C19279F-1CD9-6A8D-BEC0-6344F02F5C7A}"/>
              </a:ext>
            </a:extLst>
          </p:cNvPr>
          <p:cNvSpPr txBox="1"/>
          <p:nvPr/>
        </p:nvSpPr>
        <p:spPr>
          <a:xfrm>
            <a:off x="5716579" y="3231166"/>
            <a:ext cx="109728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ru-RU" sz="2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1,6 м/с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1899476-D73E-BE03-B5FA-D7714AD6C236}"/>
              </a:ext>
            </a:extLst>
          </p:cNvPr>
          <p:cNvSpPr txBox="1"/>
          <p:nvPr/>
        </p:nvSpPr>
        <p:spPr>
          <a:xfrm>
            <a:off x="5686099" y="5249956"/>
            <a:ext cx="109728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ru-RU" sz="2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1,6 м/с</a:t>
            </a:r>
          </a:p>
        </p:txBody>
      </p:sp>
      <p:pic>
        <p:nvPicPr>
          <p:cNvPr id="7" name="Рисунок 6" descr="Изображение выглядит как трава, на открытом воздухе, небо, берег&#10;&#10;Автоматически созданное описание">
            <a:extLst>
              <a:ext uri="{FF2B5EF4-FFF2-40B4-BE49-F238E27FC236}">
                <a16:creationId xmlns:a16="http://schemas.microsoft.com/office/drawing/2014/main" id="{10A9B961-B866-BE0E-9AB3-7748079734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64607" y="326234"/>
            <a:ext cx="3279593" cy="245969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11557127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B67F5510-5A85-4A32-8D89-027C4F3E23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B67F5510-5A85-4A32-8D89-027C4F3E2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>
            <a:extLst>
              <a:ext uri="{FF2B5EF4-FFF2-40B4-BE49-F238E27FC236}">
                <a16:creationId xmlns:a16="http://schemas.microsoft.com/office/drawing/2014/main" id="{0D66F4A6-1A8C-4975-A6F6-AC1B75446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2793599"/>
            <a:ext cx="10442576" cy="1255728"/>
          </a:xfrm>
        </p:spPr>
        <p:txBody>
          <a:bodyPr/>
          <a:lstStyle/>
          <a:p>
            <a:r>
              <a:rPr lang="ru-RU" dirty="0">
                <a:latin typeface="GEA Sans Bold"/>
              </a:rPr>
              <a:t>Экономическое обоснование систем вентиляции на МТФ</a:t>
            </a:r>
            <a:endParaRPr lang="en-US" dirty="0">
              <a:latin typeface="GEA Sans Bold"/>
            </a:endParaRP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4AF04904-5DDE-4F1F-8A6A-692CED4012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63524" y="4357103"/>
            <a:ext cx="4299597" cy="246221"/>
          </a:xfrm>
        </p:spPr>
        <p:txBody>
          <a:bodyPr/>
          <a:lstStyle/>
          <a:p>
            <a:r>
              <a:rPr lang="ru-RU" dirty="0"/>
              <a:t>Примеры окупаемости</a:t>
            </a:r>
          </a:p>
          <a:p>
            <a:r>
              <a:rPr lang="ru-RU" dirty="0"/>
              <a:t>Технологии</a:t>
            </a:r>
            <a:endParaRPr lang="en-US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EC95002B-4E3E-406C-9629-AD51407D5C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ru-RU" dirty="0"/>
              <a:t>Астана</a:t>
            </a:r>
            <a:r>
              <a:rPr lang="en-US" dirty="0"/>
              <a:t>, </a:t>
            </a:r>
            <a:r>
              <a:rPr lang="ru-RU" dirty="0"/>
              <a:t>04</a:t>
            </a:r>
            <a:r>
              <a:rPr lang="en-US" dirty="0"/>
              <a:t>.0</a:t>
            </a:r>
            <a:r>
              <a:rPr lang="ru-RU" dirty="0"/>
              <a:t>7</a:t>
            </a:r>
            <a:r>
              <a:rPr lang="en-US" dirty="0"/>
              <a:t>.202</a:t>
            </a:r>
            <a:r>
              <a:rPr lang="ru-RU" dirty="0"/>
              <a:t>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91896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0017" y="154235"/>
            <a:ext cx="10248899" cy="461665"/>
          </a:xfrm>
        </p:spPr>
        <p:txBody>
          <a:bodyPr/>
          <a:lstStyle/>
          <a:p>
            <a:r>
              <a:rPr lang="ru-RU" dirty="0"/>
              <a:t>Сенницы</a:t>
            </a:r>
            <a:r>
              <a:rPr lang="en-US" dirty="0"/>
              <a:t>. </a:t>
            </a:r>
            <a:r>
              <a:rPr lang="ru-RU" dirty="0"/>
              <a:t>Экономические показатели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6619FA-62B9-4C58-8D46-9877ED4AF800}" type="slidenum">
              <a:rPr lang="en-US" smtClean="0"/>
              <a:pPr/>
              <a:t>20</a:t>
            </a:fld>
            <a:r>
              <a:rPr lang="en-US"/>
              <a:t>  </a:t>
            </a:r>
            <a:endParaRPr lang="en-US" dirty="0"/>
          </a:p>
        </p:txBody>
      </p:sp>
      <p:sp>
        <p:nvSpPr>
          <p:cNvPr id="7" name="Inhaltsplatzhalter 7">
            <a:extLst>
              <a:ext uri="{FF2B5EF4-FFF2-40B4-BE49-F238E27FC236}">
                <a16:creationId xmlns:a16="http://schemas.microsoft.com/office/drawing/2014/main" id="{3F8FC4B6-A32D-2AFC-B6ED-8917CF331A10}"/>
              </a:ext>
            </a:extLst>
          </p:cNvPr>
          <p:cNvSpPr txBox="1">
            <a:spLocks/>
          </p:cNvSpPr>
          <p:nvPr/>
        </p:nvSpPr>
        <p:spPr>
          <a:xfrm>
            <a:off x="509460" y="824883"/>
            <a:ext cx="5346699" cy="10463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9976" indent="-241289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6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59976" indent="-239994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8003" indent="-239994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Показатели надоев после корректировки программы      0,8 литров на голову/день</a:t>
            </a:r>
          </a:p>
          <a:p>
            <a:pPr marL="0" indent="0">
              <a:buFont typeface="Wingdings" panose="05000000000000000000" pitchFamily="2" charset="2"/>
              <a:buNone/>
            </a:pPr>
            <a:br>
              <a:rPr lang="ru-RU" dirty="0"/>
            </a:br>
            <a:br>
              <a:rPr lang="ru-RU" dirty="0"/>
            </a:br>
            <a:endParaRPr lang="ru-RU" dirty="0"/>
          </a:p>
          <a:p>
            <a:pPr marL="0" indent="0">
              <a:buFont typeface="Wingdings" panose="05000000000000000000" pitchFamily="2" charset="2"/>
              <a:buNone/>
            </a:pPr>
            <a:br>
              <a:rPr lang="ru-RU" dirty="0"/>
            </a:br>
            <a:endParaRPr lang="de-DE" dirty="0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62BE397-20A8-6026-50DE-82E37B8C2819}"/>
              </a:ext>
            </a:extLst>
          </p:cNvPr>
          <p:cNvSpPr txBox="1">
            <a:spLocks/>
          </p:cNvSpPr>
          <p:nvPr/>
        </p:nvSpPr>
        <p:spPr>
          <a:xfrm>
            <a:off x="509460" y="2234410"/>
            <a:ext cx="10248899" cy="21175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9976" indent="-241289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6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59976" indent="-239994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8003" indent="-239994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Сравнение: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ru-RU" dirty="0"/>
              <a:t>0,8 литров/голова/день разница надоев до и после корректировки программы</a:t>
            </a:r>
            <a:endParaRPr lang="ru-RU" u="sng" dirty="0"/>
          </a:p>
          <a:p>
            <a:pPr marL="0" indent="0">
              <a:buFont typeface="Wingdings" panose="05000000000000000000" pitchFamily="2" charset="2"/>
              <a:buNone/>
            </a:pPr>
            <a:r>
              <a:rPr lang="ru-RU" dirty="0"/>
              <a:t>        0,8*200=160 </a:t>
            </a:r>
            <a:r>
              <a:rPr lang="en-US" dirty="0"/>
              <a:t>KZT</a:t>
            </a:r>
            <a:r>
              <a:rPr lang="ru-RU" dirty="0"/>
              <a:t>/день</a:t>
            </a:r>
            <a:r>
              <a:rPr lang="en-US" dirty="0"/>
              <a:t>/</a:t>
            </a:r>
            <a:r>
              <a:rPr lang="ru-RU" dirty="0"/>
              <a:t>голову – разница до и после корректировки программы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ru-RU" dirty="0"/>
              <a:t>        160*1 200= 192 000 </a:t>
            </a:r>
            <a:r>
              <a:rPr lang="en-US" dirty="0"/>
              <a:t>KZT</a:t>
            </a:r>
            <a:r>
              <a:rPr lang="ru-RU" dirty="0"/>
              <a:t>/день</a:t>
            </a:r>
          </a:p>
          <a:p>
            <a:pPr marL="0" indent="0">
              <a:buNone/>
            </a:pPr>
            <a:r>
              <a:rPr lang="en-US" dirty="0"/>
              <a:t>        </a:t>
            </a:r>
            <a:r>
              <a:rPr lang="ru-RU" dirty="0"/>
              <a:t>38 400*92= </a:t>
            </a:r>
            <a:r>
              <a:rPr lang="ru-RU" b="1" dirty="0"/>
              <a:t>17 664 000 </a:t>
            </a:r>
            <a:r>
              <a:rPr lang="en-US" b="1" dirty="0"/>
              <a:t>KZT</a:t>
            </a:r>
            <a:r>
              <a:rPr lang="ru-RU" b="1" dirty="0"/>
              <a:t>/лето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ru-RU" dirty="0"/>
          </a:p>
          <a:p>
            <a:pPr marL="0" indent="0">
              <a:buFont typeface="Wingdings" panose="05000000000000000000" pitchFamily="2" charset="2"/>
              <a:buNone/>
            </a:pPr>
            <a:r>
              <a:rPr lang="ru-RU" dirty="0"/>
              <a:t>        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ru-RU" dirty="0"/>
          </a:p>
          <a:p>
            <a:pPr marL="0" indent="0">
              <a:buFont typeface="Wingdings" panose="05000000000000000000" pitchFamily="2" charset="2"/>
              <a:buNone/>
            </a:pPr>
            <a:br>
              <a:rPr lang="ru-RU" dirty="0"/>
            </a:br>
            <a:br>
              <a:rPr lang="ru-RU" dirty="0"/>
            </a:br>
            <a:endParaRPr lang="ru-RU" dirty="0"/>
          </a:p>
          <a:p>
            <a:pPr marL="0" indent="0">
              <a:buFont typeface="Wingdings" panose="05000000000000000000" pitchFamily="2" charset="2"/>
              <a:buNone/>
            </a:pPr>
            <a:br>
              <a:rPr lang="ru-RU" dirty="0"/>
            </a:br>
            <a:endParaRPr lang="de-DE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AC8C903B-F375-EB98-4063-3B654BF7831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8000"/>
          </a:blip>
          <a:stretch>
            <a:fillRect/>
          </a:stretch>
        </p:blipFill>
        <p:spPr>
          <a:xfrm>
            <a:off x="476657" y="0"/>
            <a:ext cx="11205883" cy="6858000"/>
          </a:xfrm>
          <a:prstGeom prst="rect">
            <a:avLst/>
          </a:prstGeom>
        </p:spPr>
      </p:pic>
      <p:sp>
        <p:nvSpPr>
          <p:cNvPr id="10" name="Стрелка: вверх 9">
            <a:extLst>
              <a:ext uri="{FF2B5EF4-FFF2-40B4-BE49-F238E27FC236}">
                <a16:creationId xmlns:a16="http://schemas.microsoft.com/office/drawing/2014/main" id="{C8768646-4433-0E13-C623-61A61A007C4A}"/>
              </a:ext>
            </a:extLst>
          </p:cNvPr>
          <p:cNvSpPr/>
          <p:nvPr/>
        </p:nvSpPr>
        <p:spPr>
          <a:xfrm>
            <a:off x="2067950" y="1097280"/>
            <a:ext cx="281355" cy="334097"/>
          </a:xfrm>
          <a:prstGeom prst="upArrow">
            <a:avLst/>
          </a:prstGeom>
          <a:solidFill>
            <a:schemeClr val="accent5">
              <a:lumMod val="75000"/>
            </a:schemeClr>
          </a:solidFill>
          <a:ln w="952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174625" indent="-174625" algn="l">
              <a:buFont typeface="Wingdings" panose="05000000000000000000" pitchFamily="2" charset="2"/>
              <a:buChar char="§"/>
            </a:pPr>
            <a:endParaRPr lang="ru-RU" sz="1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7256454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62AF418-38EF-472D-9BC7-9A61E0AFE2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2793598"/>
            <a:ext cx="7362394" cy="627864"/>
          </a:xfrm>
        </p:spPr>
        <p:txBody>
          <a:bodyPr/>
          <a:lstStyle/>
          <a:p>
            <a:r>
              <a:rPr lang="ru-RU" dirty="0"/>
              <a:t>Вывод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46637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ыводы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6619FA-62B9-4C58-8D46-9877ED4AF800}" type="slidenum">
              <a:rPr lang="en-US" smtClean="0"/>
              <a:pPr/>
              <a:t>22</a:t>
            </a:fld>
            <a:r>
              <a:rPr lang="en-US"/>
              <a:t>  </a:t>
            </a:r>
            <a:endParaRPr lang="en-US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EAE6F824-4D87-4450-95DD-E5943763DC9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1801" y="744624"/>
            <a:ext cx="8599659" cy="5368751"/>
          </a:xfrm>
        </p:spPr>
        <p:txBody>
          <a:bodyPr/>
          <a:lstStyle/>
          <a:p>
            <a:pPr marL="0" indent="0">
              <a:buNone/>
            </a:pPr>
            <a:endParaRPr lang="ru-RU" dirty="0"/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Вентиляционное оборудование снижает затраты на комплексе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Эффективная система микроклимата может снизить температуру более чем на 10⁰С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Оптимально подобранная технология вентиляции способна увеличить прибыль  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Правильное использование оборудования улучшает микроклимат и экономику МТФ</a:t>
            </a:r>
          </a:p>
          <a:p>
            <a:pPr marL="457200" indent="-457200">
              <a:buFont typeface="+mj-lt"/>
              <a:buAutoNum type="arabicPeriod"/>
            </a:pPr>
            <a:endParaRPr lang="ru-RU" dirty="0"/>
          </a:p>
          <a:p>
            <a:pPr marL="0" indent="0">
              <a:buNone/>
            </a:pPr>
            <a:br>
              <a:rPr lang="ru-RU" dirty="0"/>
            </a:b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42276675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CB9888E-659E-410A-BC07-DEB701C07A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4923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CB9888E-659E-410A-BC07-DEB701C07A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180089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C589D3D5-4260-F151-9D07-ADA145574D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30000"/>
            <a:alphaModFix amt="24000"/>
          </a:blip>
          <a:srcRect/>
          <a:stretch>
            <a:fillRect/>
          </a:stretch>
        </p:blipFill>
        <p:spPr bwMode="auto">
          <a:xfrm>
            <a:off x="0" y="0"/>
            <a:ext cx="12191999" cy="6856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ентиляция на МТФ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6619FA-62B9-4C58-8D46-9877ED4AF800}" type="slidenum">
              <a:rPr lang="en-US" smtClean="0"/>
              <a:pPr/>
              <a:t>3</a:t>
            </a:fld>
            <a:r>
              <a:rPr lang="en-US"/>
              <a:t>  </a:t>
            </a:r>
            <a:endParaRPr lang="en-US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EAE6F824-4D87-4450-95DD-E5943763DC9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1799" y="891177"/>
            <a:ext cx="10656756" cy="5073649"/>
          </a:xfrm>
        </p:spPr>
        <p:txBody>
          <a:bodyPr/>
          <a:lstStyle/>
          <a:p>
            <a:r>
              <a:rPr lang="ru-RU" dirty="0"/>
              <a:t>Чтобы обеспечить жизненные функции коровы необходимы:</a:t>
            </a:r>
            <a:endParaRPr lang="de-DE" dirty="0"/>
          </a:p>
          <a:p>
            <a:pPr lvl="1"/>
            <a:r>
              <a:rPr lang="ru-RU" sz="2000" dirty="0"/>
              <a:t>Корма, без которых она проживёт 3 недели</a:t>
            </a:r>
            <a:endParaRPr lang="de-DE" sz="2000" dirty="0"/>
          </a:p>
          <a:p>
            <a:pPr lvl="1"/>
            <a:r>
              <a:rPr lang="ru-RU" sz="2400" dirty="0"/>
              <a:t>Вода, без которой она проживёт 3 дня</a:t>
            </a:r>
          </a:p>
          <a:p>
            <a:pPr lvl="1"/>
            <a:r>
              <a:rPr lang="ru-RU" sz="2800" dirty="0"/>
              <a:t>Воздух, без которого она проживёт только 3 минуты</a:t>
            </a:r>
            <a:endParaRPr lang="de-DE" sz="2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3990686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62AF418-38EF-472D-9BC7-9A61E0AFE2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2793598"/>
            <a:ext cx="7362394" cy="627864"/>
          </a:xfrm>
        </p:spPr>
        <p:txBody>
          <a:bodyPr/>
          <a:lstStyle/>
          <a:p>
            <a:r>
              <a:rPr lang="ru-RU" dirty="0"/>
              <a:t>Экономические пример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75482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31801" y="165101"/>
            <a:ext cx="8447617" cy="461665"/>
          </a:xfrm>
        </p:spPr>
        <p:txBody>
          <a:bodyPr/>
          <a:lstStyle/>
          <a:p>
            <a:r>
              <a:rPr lang="ru-RU" dirty="0"/>
              <a:t>Старая Калитва. Воронежская область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6619FA-62B9-4C58-8D46-9877ED4AF800}" type="slidenum">
              <a:rPr lang="en-US" smtClean="0"/>
              <a:pPr/>
              <a:t>5</a:t>
            </a:fld>
            <a:r>
              <a:rPr lang="en-US"/>
              <a:t>  </a:t>
            </a:r>
            <a:endParaRPr lang="en-US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EAE6F824-4D87-4450-95DD-E5943763DC9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1932" y="3779691"/>
            <a:ext cx="10394951" cy="2923583"/>
          </a:xfrm>
        </p:spPr>
        <p:txBody>
          <a:bodyPr/>
          <a:lstStyle/>
          <a:p>
            <a:r>
              <a:rPr lang="ru-RU" dirty="0"/>
              <a:t>Основные показатели: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180,0 м х 31,9 м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500 голов дойного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Сухостой + боксы для отёла</a:t>
            </a:r>
          </a:p>
          <a:p>
            <a:pPr marL="457200" indent="-457200">
              <a:buFont typeface="+mj-lt"/>
              <a:buAutoNum type="arabicPeriod"/>
            </a:pPr>
            <a:endParaRPr lang="ru-RU" dirty="0"/>
          </a:p>
          <a:p>
            <a:pPr marL="0" indent="0">
              <a:buNone/>
            </a:pPr>
            <a:br>
              <a:rPr lang="ru-RU" dirty="0"/>
            </a:br>
            <a:endParaRPr lang="de-DE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468ECC8-D2A9-9ED6-0042-5724D7F520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734" y="849743"/>
            <a:ext cx="11814531" cy="27069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26716692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тарая Калитва. Воронежская область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6619FA-62B9-4C58-8D46-9877ED4AF800}" type="slidenum">
              <a:rPr lang="en-US" smtClean="0"/>
              <a:pPr/>
              <a:t>6</a:t>
            </a:fld>
            <a:r>
              <a:rPr lang="en-US"/>
              <a:t>  </a:t>
            </a:r>
            <a:endParaRPr lang="en-US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EAE6F824-4D87-4450-95DD-E5943763DC9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91932" y="3779691"/>
            <a:ext cx="10394951" cy="2923583"/>
          </a:xfrm>
        </p:spPr>
        <p:txBody>
          <a:bodyPr/>
          <a:lstStyle/>
          <a:p>
            <a:r>
              <a:rPr lang="ru-RU" dirty="0"/>
              <a:t>Оборудование: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17 вентиляторов </a:t>
            </a:r>
            <a:r>
              <a:rPr lang="en-US" dirty="0"/>
              <a:t>GEA Breeze</a:t>
            </a:r>
            <a:endParaRPr lang="ru-RU" dirty="0"/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Регуляторы частотного привода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Приборы климат контроля по индексу </a:t>
            </a:r>
            <a:r>
              <a:rPr lang="en-US" dirty="0"/>
              <a:t>THI (</a:t>
            </a:r>
            <a:r>
              <a:rPr lang="ru-RU" dirty="0"/>
              <a:t>Температура + влажность</a:t>
            </a:r>
            <a:r>
              <a:rPr lang="en-US" dirty="0"/>
              <a:t>)</a:t>
            </a:r>
            <a:endParaRPr lang="ru-RU" dirty="0"/>
          </a:p>
          <a:p>
            <a:pPr marL="457200" indent="-457200">
              <a:buFont typeface="+mj-lt"/>
              <a:buAutoNum type="arabicPeriod"/>
            </a:pPr>
            <a:endParaRPr lang="ru-RU" dirty="0"/>
          </a:p>
          <a:p>
            <a:pPr marL="0" indent="0">
              <a:buNone/>
            </a:pPr>
            <a:br>
              <a:rPr lang="ru-RU" dirty="0"/>
            </a:br>
            <a:endParaRPr lang="de-DE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D061EDE-C243-6372-17DF-D5C8BD82D3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701" y="626766"/>
            <a:ext cx="12088068" cy="280223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3050488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7A0D1EE-FC0A-0BAB-C189-FCF3C100D5F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000"/>
          </a:blip>
          <a:stretch>
            <a:fillRect/>
          </a:stretch>
        </p:blipFill>
        <p:spPr>
          <a:xfrm>
            <a:off x="493058" y="330200"/>
            <a:ext cx="11205883" cy="65278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6402" y="172453"/>
            <a:ext cx="10248899" cy="461665"/>
          </a:xfrm>
        </p:spPr>
        <p:txBody>
          <a:bodyPr/>
          <a:lstStyle/>
          <a:p>
            <a:r>
              <a:rPr lang="ru-RU" dirty="0"/>
              <a:t>Старая Калитва</a:t>
            </a:r>
            <a:r>
              <a:rPr lang="en-US" dirty="0"/>
              <a:t>. </a:t>
            </a:r>
            <a:r>
              <a:rPr lang="ru-RU" dirty="0"/>
              <a:t>Показатели надоев в летний период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6619FA-62B9-4C58-8D46-9877ED4AF800}" type="slidenum">
              <a:rPr lang="en-US" smtClean="0"/>
              <a:pPr/>
              <a:t>7</a:t>
            </a:fld>
            <a:r>
              <a:rPr lang="en-US"/>
              <a:t>  </a:t>
            </a:r>
            <a:endParaRPr lang="en-US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EAE6F824-4D87-4450-95DD-E5943763DC9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1801" y="807891"/>
            <a:ext cx="5346699" cy="2923583"/>
          </a:xfrm>
        </p:spPr>
        <p:txBody>
          <a:bodyPr/>
          <a:lstStyle/>
          <a:p>
            <a:r>
              <a:rPr lang="ru-RU" dirty="0"/>
              <a:t>Спец. корпус:</a:t>
            </a:r>
          </a:p>
          <a:p>
            <a:pPr marL="0" indent="0">
              <a:buNone/>
            </a:pPr>
            <a:r>
              <a:rPr lang="ru-RU" dirty="0"/>
              <a:t>        300 мл на голову/день</a:t>
            </a:r>
          </a:p>
          <a:p>
            <a:pPr marL="0" indent="0">
              <a:buNone/>
            </a:pPr>
            <a:r>
              <a:rPr lang="ru-RU" dirty="0"/>
              <a:t>500*0,3 литра = 135,9 литра/день</a:t>
            </a:r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r>
              <a:rPr lang="ru-RU" dirty="0"/>
              <a:t>≈200 </a:t>
            </a:r>
            <a:r>
              <a:rPr lang="en-US" dirty="0"/>
              <a:t>KZT</a:t>
            </a:r>
            <a:r>
              <a:rPr lang="ru-RU" dirty="0"/>
              <a:t>/литр</a:t>
            </a:r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r>
              <a:rPr lang="ru-RU" dirty="0"/>
              <a:t>135,9*</a:t>
            </a:r>
            <a:r>
              <a:rPr lang="en-US" dirty="0"/>
              <a:t>20</a:t>
            </a:r>
            <a:r>
              <a:rPr lang="ru-RU" dirty="0"/>
              <a:t>0= </a:t>
            </a:r>
            <a:r>
              <a:rPr lang="en-US" dirty="0"/>
              <a:t>27</a:t>
            </a:r>
            <a:r>
              <a:rPr lang="ru-RU" dirty="0"/>
              <a:t> 1</a:t>
            </a:r>
            <a:r>
              <a:rPr lang="en-US" dirty="0"/>
              <a:t>80</a:t>
            </a:r>
            <a:r>
              <a:rPr lang="ru-RU" dirty="0"/>
              <a:t> </a:t>
            </a:r>
            <a:r>
              <a:rPr lang="en-US" dirty="0"/>
              <a:t>KZT</a:t>
            </a:r>
            <a:r>
              <a:rPr lang="ru-RU" dirty="0"/>
              <a:t> - потери в день</a:t>
            </a:r>
          </a:p>
          <a:p>
            <a:pPr marL="0" indent="0">
              <a:buNone/>
            </a:pPr>
            <a:br>
              <a:rPr lang="ru-RU" dirty="0"/>
            </a:br>
            <a:br>
              <a:rPr lang="ru-RU" dirty="0"/>
            </a:br>
            <a:endParaRPr lang="ru-RU" dirty="0"/>
          </a:p>
          <a:p>
            <a:pPr marL="0" indent="0">
              <a:buNone/>
            </a:pPr>
            <a:br>
              <a:rPr lang="ru-RU" dirty="0"/>
            </a:br>
            <a:endParaRPr lang="de-DE" dirty="0"/>
          </a:p>
        </p:txBody>
      </p:sp>
      <p:sp>
        <p:nvSpPr>
          <p:cNvPr id="6" name="Стрелка: вниз 5">
            <a:extLst>
              <a:ext uri="{FF2B5EF4-FFF2-40B4-BE49-F238E27FC236}">
                <a16:creationId xmlns:a16="http://schemas.microsoft.com/office/drawing/2014/main" id="{6E41B80B-D7D2-4665-02FF-1439A9D38B37}"/>
              </a:ext>
            </a:extLst>
          </p:cNvPr>
          <p:cNvSpPr/>
          <p:nvPr/>
        </p:nvSpPr>
        <p:spPr>
          <a:xfrm>
            <a:off x="520701" y="1130300"/>
            <a:ext cx="330200" cy="406400"/>
          </a:xfrm>
          <a:prstGeom prst="downArrow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174625" indent="-174625" algn="l">
              <a:buFont typeface="Wingdings" panose="05000000000000000000" pitchFamily="2" charset="2"/>
              <a:buChar char="§"/>
            </a:pPr>
            <a:endParaRPr lang="ru-RU" sz="1400" dirty="0"/>
          </a:p>
        </p:txBody>
      </p:sp>
      <p:sp>
        <p:nvSpPr>
          <p:cNvPr id="7" name="Inhaltsplatzhalter 7">
            <a:extLst>
              <a:ext uri="{FF2B5EF4-FFF2-40B4-BE49-F238E27FC236}">
                <a16:creationId xmlns:a16="http://schemas.microsoft.com/office/drawing/2014/main" id="{3F8FC4B6-A32D-2AFC-B6ED-8917CF331A10}"/>
              </a:ext>
            </a:extLst>
          </p:cNvPr>
          <p:cNvSpPr txBox="1">
            <a:spLocks/>
          </p:cNvSpPr>
          <p:nvPr/>
        </p:nvSpPr>
        <p:spPr>
          <a:xfrm>
            <a:off x="6267452" y="807891"/>
            <a:ext cx="5346699" cy="29235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9976" indent="-241289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6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59976" indent="-239994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8003" indent="-239994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Остальные корпуса: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ru-RU" dirty="0"/>
              <a:t>        4 литра на голову/день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ru-RU" dirty="0"/>
              <a:t>500*4 литра = 2000 литров/день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ru-RU" dirty="0"/>
          </a:p>
          <a:p>
            <a:pPr marL="0" indent="0">
              <a:buFont typeface="Wingdings" panose="05000000000000000000" pitchFamily="2" charset="2"/>
              <a:buNone/>
            </a:pPr>
            <a:r>
              <a:rPr lang="ru-RU" dirty="0"/>
              <a:t>≈</a:t>
            </a:r>
            <a:r>
              <a:rPr lang="en-US" dirty="0"/>
              <a:t>20</a:t>
            </a:r>
            <a:r>
              <a:rPr lang="ru-RU" dirty="0"/>
              <a:t>0 </a:t>
            </a:r>
            <a:r>
              <a:rPr lang="en-US" dirty="0"/>
              <a:t>KZT</a:t>
            </a:r>
            <a:r>
              <a:rPr lang="ru-RU" dirty="0"/>
              <a:t>/литр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ru-RU" dirty="0"/>
          </a:p>
          <a:p>
            <a:pPr marL="0" indent="0">
              <a:buFont typeface="Wingdings" panose="05000000000000000000" pitchFamily="2" charset="2"/>
              <a:buNone/>
            </a:pPr>
            <a:r>
              <a:rPr lang="ru-RU" dirty="0"/>
              <a:t>2000*</a:t>
            </a:r>
            <a:r>
              <a:rPr lang="en-US" dirty="0"/>
              <a:t>20</a:t>
            </a:r>
            <a:r>
              <a:rPr lang="ru-RU" dirty="0"/>
              <a:t>0= </a:t>
            </a:r>
            <a:r>
              <a:rPr lang="en-US" dirty="0"/>
              <a:t>40</a:t>
            </a:r>
            <a:r>
              <a:rPr lang="ru-RU" dirty="0"/>
              <a:t>0 000 </a:t>
            </a:r>
            <a:r>
              <a:rPr lang="en-US" dirty="0"/>
              <a:t>KZT</a:t>
            </a:r>
            <a:r>
              <a:rPr lang="ru-RU" dirty="0"/>
              <a:t>- потери в день</a:t>
            </a:r>
          </a:p>
          <a:p>
            <a:pPr marL="0" indent="0">
              <a:buFont typeface="Wingdings" panose="05000000000000000000" pitchFamily="2" charset="2"/>
              <a:buNone/>
            </a:pPr>
            <a:br>
              <a:rPr lang="ru-RU" dirty="0"/>
            </a:br>
            <a:br>
              <a:rPr lang="ru-RU" dirty="0"/>
            </a:br>
            <a:endParaRPr lang="ru-RU" dirty="0"/>
          </a:p>
          <a:p>
            <a:pPr marL="0" indent="0">
              <a:buFont typeface="Wingdings" panose="05000000000000000000" pitchFamily="2" charset="2"/>
              <a:buNone/>
            </a:pPr>
            <a:br>
              <a:rPr lang="ru-RU" dirty="0"/>
            </a:br>
            <a:endParaRPr lang="de-DE" dirty="0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62BE397-20A8-6026-50DE-82E37B8C2819}"/>
              </a:ext>
            </a:extLst>
          </p:cNvPr>
          <p:cNvSpPr txBox="1">
            <a:spLocks/>
          </p:cNvSpPr>
          <p:nvPr/>
        </p:nvSpPr>
        <p:spPr>
          <a:xfrm>
            <a:off x="2305052" y="3892547"/>
            <a:ext cx="9886948" cy="18351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9976" indent="-241289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6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59976" indent="-239994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8003" indent="-239994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Разница: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ru-RU" dirty="0"/>
              <a:t>        </a:t>
            </a:r>
            <a:r>
              <a:rPr lang="en-US" dirty="0"/>
              <a:t>40</a:t>
            </a:r>
            <a:r>
              <a:rPr lang="ru-RU" dirty="0"/>
              <a:t>0 000 – </a:t>
            </a:r>
            <a:r>
              <a:rPr lang="en-US" dirty="0"/>
              <a:t>27</a:t>
            </a:r>
            <a:r>
              <a:rPr lang="ru-RU" dirty="0"/>
              <a:t> </a:t>
            </a:r>
            <a:r>
              <a:rPr lang="en-US" dirty="0"/>
              <a:t>180</a:t>
            </a:r>
            <a:r>
              <a:rPr lang="ru-RU" dirty="0"/>
              <a:t>= </a:t>
            </a:r>
            <a:r>
              <a:rPr lang="en-US" dirty="0"/>
              <a:t>372</a:t>
            </a:r>
            <a:r>
              <a:rPr lang="ru-RU" dirty="0"/>
              <a:t> 8</a:t>
            </a:r>
            <a:r>
              <a:rPr lang="en-US" dirty="0"/>
              <a:t>20</a:t>
            </a:r>
            <a:r>
              <a:rPr lang="ru-RU" dirty="0"/>
              <a:t> </a:t>
            </a:r>
            <a:r>
              <a:rPr lang="en-US" dirty="0"/>
              <a:t>KZT</a:t>
            </a:r>
            <a:r>
              <a:rPr lang="ru-RU" dirty="0"/>
              <a:t>/день потери корпусов  </a:t>
            </a:r>
            <a:r>
              <a:rPr lang="ru-RU" u="sng" dirty="0"/>
              <a:t>БЕЗ ВЕНТИЛЯТОРОВ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ru-RU" dirty="0"/>
              <a:t>        </a:t>
            </a:r>
            <a:r>
              <a:rPr lang="en-US" dirty="0"/>
              <a:t>372 820</a:t>
            </a:r>
            <a:r>
              <a:rPr lang="ru-RU" dirty="0"/>
              <a:t>*30 = </a:t>
            </a:r>
            <a:r>
              <a:rPr lang="en-US" dirty="0"/>
              <a:t>11</a:t>
            </a:r>
            <a:r>
              <a:rPr lang="ru-RU" dirty="0"/>
              <a:t> </a:t>
            </a:r>
            <a:r>
              <a:rPr lang="en-US" dirty="0"/>
              <a:t>184</a:t>
            </a:r>
            <a:r>
              <a:rPr lang="ru-RU" dirty="0"/>
              <a:t> </a:t>
            </a:r>
            <a:r>
              <a:rPr lang="en-US" dirty="0"/>
              <a:t>600</a:t>
            </a:r>
            <a:r>
              <a:rPr lang="ru-RU" dirty="0"/>
              <a:t> </a:t>
            </a:r>
            <a:r>
              <a:rPr lang="en-US" dirty="0"/>
              <a:t>KZT</a:t>
            </a:r>
            <a:r>
              <a:rPr lang="ru-RU" dirty="0"/>
              <a:t>/месяц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ru-RU" dirty="0"/>
              <a:t> </a:t>
            </a:r>
            <a:r>
              <a:rPr lang="en-US" dirty="0"/>
              <a:t>       372 820 </a:t>
            </a:r>
            <a:r>
              <a:rPr lang="ru-RU" dirty="0"/>
              <a:t>*92= </a:t>
            </a:r>
            <a:r>
              <a:rPr lang="en-US" b="1" dirty="0"/>
              <a:t>34</a:t>
            </a:r>
            <a:r>
              <a:rPr lang="ru-RU" b="1" dirty="0"/>
              <a:t> </a:t>
            </a:r>
            <a:r>
              <a:rPr lang="en-US" b="1" dirty="0"/>
              <a:t>299</a:t>
            </a:r>
            <a:r>
              <a:rPr lang="ru-RU" b="1" dirty="0"/>
              <a:t> </a:t>
            </a:r>
            <a:r>
              <a:rPr lang="en-US" b="1" dirty="0"/>
              <a:t>440</a:t>
            </a:r>
            <a:r>
              <a:rPr lang="ru-RU" b="1" dirty="0"/>
              <a:t> </a:t>
            </a:r>
            <a:r>
              <a:rPr lang="en-US" b="1" dirty="0"/>
              <a:t>KZT</a:t>
            </a:r>
            <a:r>
              <a:rPr lang="ru-RU" b="1" dirty="0"/>
              <a:t>/лето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ru-RU" dirty="0"/>
          </a:p>
          <a:p>
            <a:pPr marL="0" indent="0">
              <a:buFont typeface="Wingdings" panose="05000000000000000000" pitchFamily="2" charset="2"/>
              <a:buNone/>
            </a:pPr>
            <a:endParaRPr lang="ru-RU" dirty="0"/>
          </a:p>
          <a:p>
            <a:pPr marL="0" indent="0">
              <a:buFont typeface="Wingdings" panose="05000000000000000000" pitchFamily="2" charset="2"/>
              <a:buNone/>
            </a:pPr>
            <a:br>
              <a:rPr lang="ru-RU" dirty="0"/>
            </a:br>
            <a:br>
              <a:rPr lang="ru-RU" dirty="0"/>
            </a:br>
            <a:endParaRPr lang="ru-RU" dirty="0"/>
          </a:p>
          <a:p>
            <a:pPr marL="0" indent="0">
              <a:buFont typeface="Wingdings" panose="05000000000000000000" pitchFamily="2" charset="2"/>
              <a:buNone/>
            </a:pPr>
            <a:br>
              <a:rPr lang="ru-RU" dirty="0"/>
            </a:br>
            <a:endParaRPr lang="de-DE" dirty="0"/>
          </a:p>
        </p:txBody>
      </p:sp>
      <p:sp>
        <p:nvSpPr>
          <p:cNvPr id="10" name="Стрелка: вниз 9">
            <a:extLst>
              <a:ext uri="{FF2B5EF4-FFF2-40B4-BE49-F238E27FC236}">
                <a16:creationId xmlns:a16="http://schemas.microsoft.com/office/drawing/2014/main" id="{8BDCCBCB-DA4A-748C-EC6E-380AE1A2373E}"/>
              </a:ext>
            </a:extLst>
          </p:cNvPr>
          <p:cNvSpPr/>
          <p:nvPr/>
        </p:nvSpPr>
        <p:spPr>
          <a:xfrm>
            <a:off x="6423026" y="1105356"/>
            <a:ext cx="330200" cy="406400"/>
          </a:xfrm>
          <a:prstGeom prst="downArrow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marL="174625" indent="-174625" algn="l">
              <a:buFont typeface="Wingdings" panose="05000000000000000000" pitchFamily="2" charset="2"/>
              <a:buChar char="§"/>
            </a:pPr>
            <a:endParaRPr lang="ru-RU" sz="1400" dirty="0">
              <a:solidFill>
                <a:srgbClr val="FF0000"/>
              </a:solidFill>
              <a:highlight>
                <a:srgbClr val="FF0000"/>
              </a:highlight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44689681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тарая Калитва. Стоимость оборудования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6619FA-62B9-4C58-8D46-9877ED4AF800}" type="slidenum">
              <a:rPr lang="en-US" smtClean="0"/>
              <a:pPr/>
              <a:t>8</a:t>
            </a:fld>
            <a:r>
              <a:rPr lang="en-US"/>
              <a:t>  </a:t>
            </a:r>
            <a:endParaRPr lang="en-US" dirty="0"/>
          </a:p>
        </p:txBody>
      </p:sp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BC2C60BE-39E5-2800-38CB-72D17EC389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4796321"/>
              </p:ext>
            </p:extLst>
          </p:nvPr>
        </p:nvGraphicFramePr>
        <p:xfrm>
          <a:off x="431801" y="4692882"/>
          <a:ext cx="9401515" cy="1411351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763470">
                  <a:extLst>
                    <a:ext uri="{9D8B030D-6E8A-4147-A177-3AD203B41FA5}">
                      <a16:colId xmlns:a16="http://schemas.microsoft.com/office/drawing/2014/main" val="1790483141"/>
                    </a:ext>
                  </a:extLst>
                </a:gridCol>
                <a:gridCol w="4431806">
                  <a:extLst>
                    <a:ext uri="{9D8B030D-6E8A-4147-A177-3AD203B41FA5}">
                      <a16:colId xmlns:a16="http://schemas.microsoft.com/office/drawing/2014/main" val="1021953540"/>
                    </a:ext>
                  </a:extLst>
                </a:gridCol>
                <a:gridCol w="1167618">
                  <a:extLst>
                    <a:ext uri="{9D8B030D-6E8A-4147-A177-3AD203B41FA5}">
                      <a16:colId xmlns:a16="http://schemas.microsoft.com/office/drawing/2014/main" val="2757635105"/>
                    </a:ext>
                  </a:extLst>
                </a:gridCol>
                <a:gridCol w="3038621">
                  <a:extLst>
                    <a:ext uri="{9D8B030D-6E8A-4147-A177-3AD203B41FA5}">
                      <a16:colId xmlns:a16="http://schemas.microsoft.com/office/drawing/2014/main" val="2698258096"/>
                    </a:ext>
                  </a:extLst>
                </a:gridCol>
              </a:tblGrid>
              <a:tr h="77216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800" dirty="0">
                          <a:effectLst/>
                        </a:rPr>
                        <a:t>№</a:t>
                      </a:r>
                      <a:endParaRPr lang="ru-RU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800" dirty="0">
                          <a:effectLst/>
                        </a:rPr>
                        <a:t>Наименование</a:t>
                      </a:r>
                      <a:endParaRPr lang="ru-RU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800" dirty="0">
                          <a:effectLst/>
                        </a:rPr>
                        <a:t>Кол-во</a:t>
                      </a:r>
                      <a:endParaRPr lang="ru-RU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800" dirty="0">
                          <a:effectLst/>
                        </a:rPr>
                        <a:t>Цена с НДС в </a:t>
                      </a:r>
                      <a:r>
                        <a:rPr lang="en-US" sz="1800" dirty="0">
                          <a:effectLst/>
                        </a:rPr>
                        <a:t>KZT</a:t>
                      </a:r>
                      <a:endParaRPr lang="ru-RU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147318533"/>
                  </a:ext>
                </a:extLst>
              </a:tr>
              <a:tr h="53022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800" dirty="0">
                          <a:effectLst/>
                        </a:rPr>
                        <a:t>1.</a:t>
                      </a:r>
                      <a:endParaRPr lang="ru-RU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800" dirty="0">
                          <a:effectLst/>
                        </a:rPr>
                        <a:t>Потолочные вентиляторы </a:t>
                      </a:r>
                      <a:r>
                        <a:rPr lang="en-US" sz="1800" dirty="0">
                          <a:effectLst/>
                        </a:rPr>
                        <a:t>Gea Breeze </a:t>
                      </a:r>
                      <a:endParaRPr lang="ru-RU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ru-RU" sz="1800" dirty="0">
                          <a:effectLst/>
                        </a:rPr>
                        <a:t> 17</a:t>
                      </a:r>
                      <a:endParaRPr lang="ru-RU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de-DE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tabLst>
                          <a:tab pos="142875" algn="l"/>
                          <a:tab pos="710565" algn="ctr"/>
                        </a:tabLst>
                      </a:pPr>
                      <a:r>
                        <a:rPr lang="ru-RU" sz="2000" dirty="0">
                          <a:effectLst/>
                        </a:rPr>
                        <a:t> </a:t>
                      </a:r>
                      <a:r>
                        <a:rPr lang="en-US" sz="1800" dirty="0">
                          <a:effectLst/>
                        </a:rPr>
                        <a:t>44</a:t>
                      </a:r>
                      <a:r>
                        <a:rPr lang="ru-RU" sz="1800" dirty="0">
                          <a:effectLst/>
                        </a:rPr>
                        <a:t> </a:t>
                      </a:r>
                      <a:r>
                        <a:rPr lang="en-US" sz="1800" dirty="0">
                          <a:effectLst/>
                        </a:rPr>
                        <a:t>308</a:t>
                      </a:r>
                      <a:r>
                        <a:rPr lang="ru-RU" sz="1800" dirty="0">
                          <a:effectLst/>
                        </a:rPr>
                        <a:t> </a:t>
                      </a:r>
                      <a:r>
                        <a:rPr lang="en-US" sz="1800" dirty="0">
                          <a:effectLst/>
                        </a:rPr>
                        <a:t>598</a:t>
                      </a:r>
                      <a:r>
                        <a:rPr lang="ru-RU" sz="1800" dirty="0">
                          <a:effectLst/>
                        </a:rPr>
                        <a:t>,00</a:t>
                      </a:r>
                      <a:endParaRPr lang="ru-RU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89322269"/>
                  </a:ext>
                </a:extLst>
              </a:tr>
            </a:tbl>
          </a:graphicData>
        </a:graphic>
      </p:graphicFrame>
      <p:sp>
        <p:nvSpPr>
          <p:cNvPr id="5" name="Rectangle 1">
            <a:extLst>
              <a:ext uri="{FF2B5EF4-FFF2-40B4-BE49-F238E27FC236}">
                <a16:creationId xmlns:a16="http://schemas.microsoft.com/office/drawing/2014/main" id="{A6BE1A71-CF95-12B2-0F8F-A3AFCEEC5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4113" y="2169148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pic>
        <p:nvPicPr>
          <p:cNvPr id="10" name="Grafik 1">
            <a:extLst>
              <a:ext uri="{FF2B5EF4-FFF2-40B4-BE49-F238E27FC236}">
                <a16:creationId xmlns:a16="http://schemas.microsoft.com/office/drawing/2014/main" id="{98FDB8A1-E37F-C4F6-88E7-83687FE2175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35" b="9035"/>
          <a:stretch>
            <a:fillRect/>
          </a:stretch>
        </p:blipFill>
        <p:spPr bwMode="auto">
          <a:xfrm>
            <a:off x="431802" y="689243"/>
            <a:ext cx="6180014" cy="379566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Grafik 4">
            <a:extLst>
              <a:ext uri="{FF2B5EF4-FFF2-40B4-BE49-F238E27FC236}">
                <a16:creationId xmlns:a16="http://schemas.microsoft.com/office/drawing/2014/main" id="{823AE971-2276-CDCF-F4A2-B2AECB6CF95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46014" y="689242"/>
            <a:ext cx="2839844" cy="373845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53850645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8268" y="167333"/>
            <a:ext cx="10248899" cy="461665"/>
          </a:xfrm>
        </p:spPr>
        <p:txBody>
          <a:bodyPr/>
          <a:lstStyle/>
          <a:p>
            <a:r>
              <a:rPr lang="ru-RU" dirty="0"/>
              <a:t>Старая Калитва</a:t>
            </a:r>
            <a:r>
              <a:rPr lang="en-US" dirty="0"/>
              <a:t>. </a:t>
            </a:r>
            <a:r>
              <a:rPr lang="ru-RU" dirty="0"/>
              <a:t>Окупаемость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6619FA-62B9-4C58-8D46-9877ED4AF800}" type="slidenum">
              <a:rPr lang="en-US" smtClean="0"/>
              <a:pPr/>
              <a:t>9</a:t>
            </a:fld>
            <a:r>
              <a:rPr lang="en-US"/>
              <a:t>  </a:t>
            </a:r>
            <a:endParaRPr lang="en-US" dirty="0"/>
          </a:p>
        </p:txBody>
      </p: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62BE397-20A8-6026-50DE-82E37B8C2819}"/>
              </a:ext>
            </a:extLst>
          </p:cNvPr>
          <p:cNvSpPr txBox="1">
            <a:spLocks/>
          </p:cNvSpPr>
          <p:nvPr/>
        </p:nvSpPr>
        <p:spPr>
          <a:xfrm>
            <a:off x="1136652" y="923330"/>
            <a:ext cx="8896348" cy="18351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9976" indent="-241289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6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59976" indent="-239994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8003" indent="-239994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Срок окупаемости:</a:t>
            </a:r>
          </a:p>
          <a:p>
            <a:pPr marL="0" indent="0">
              <a:buNone/>
            </a:pPr>
            <a:r>
              <a:rPr lang="ru-RU" dirty="0"/>
              <a:t>        </a:t>
            </a:r>
            <a:r>
              <a:rPr lang="en-US" dirty="0"/>
              <a:t>44</a:t>
            </a:r>
            <a:r>
              <a:rPr lang="ru-RU" dirty="0"/>
              <a:t> </a:t>
            </a:r>
            <a:r>
              <a:rPr lang="en-US" dirty="0"/>
              <a:t>308</a:t>
            </a:r>
            <a:r>
              <a:rPr lang="ru-RU" dirty="0"/>
              <a:t> 5</a:t>
            </a:r>
            <a:r>
              <a:rPr lang="en-US" dirty="0"/>
              <a:t>98</a:t>
            </a:r>
            <a:r>
              <a:rPr lang="ru-RU" dirty="0"/>
              <a:t> </a:t>
            </a:r>
            <a:r>
              <a:rPr lang="en-US" dirty="0"/>
              <a:t>KZT</a:t>
            </a:r>
            <a:r>
              <a:rPr lang="ru-RU" dirty="0"/>
              <a:t>-стоимость оборудования</a:t>
            </a:r>
          </a:p>
          <a:p>
            <a:pPr marL="0" indent="0">
              <a:buNone/>
            </a:pPr>
            <a:r>
              <a:rPr lang="ru-RU" dirty="0"/>
              <a:t>        </a:t>
            </a:r>
            <a:r>
              <a:rPr lang="en-US" dirty="0"/>
              <a:t>372</a:t>
            </a:r>
            <a:r>
              <a:rPr lang="ru-RU" dirty="0"/>
              <a:t> 8</a:t>
            </a:r>
            <a:r>
              <a:rPr lang="en-US" dirty="0"/>
              <a:t>20</a:t>
            </a:r>
            <a:r>
              <a:rPr lang="ru-RU" dirty="0"/>
              <a:t> </a:t>
            </a:r>
            <a:r>
              <a:rPr lang="en-US" dirty="0"/>
              <a:t>KZT</a:t>
            </a:r>
            <a:r>
              <a:rPr lang="ru-RU" dirty="0"/>
              <a:t>– стоимость потерянного молока</a:t>
            </a:r>
            <a:r>
              <a:rPr lang="en-US" dirty="0"/>
              <a:t> </a:t>
            </a:r>
            <a:r>
              <a:rPr lang="ru-RU" dirty="0"/>
              <a:t>в день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ru-RU" dirty="0"/>
              <a:t>        44 308 598/372 820 = 119 дней</a:t>
            </a:r>
            <a:endParaRPr lang="ru-RU" u="sng" dirty="0"/>
          </a:p>
          <a:p>
            <a:pPr marL="0" indent="0">
              <a:buFont typeface="Wingdings" panose="05000000000000000000" pitchFamily="2" charset="2"/>
              <a:buNone/>
            </a:pPr>
            <a:r>
              <a:rPr lang="ru-RU" dirty="0"/>
              <a:t>        </a:t>
            </a:r>
            <a:r>
              <a:rPr lang="ru-RU" u="sng" dirty="0"/>
              <a:t>Окупаемость </a:t>
            </a:r>
            <a:r>
              <a:rPr lang="ru-RU" b="1" u="sng" dirty="0"/>
              <a:t>119 летних дня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ru-RU" dirty="0"/>
          </a:p>
          <a:p>
            <a:pPr marL="0" indent="0">
              <a:buFont typeface="Wingdings" panose="05000000000000000000" pitchFamily="2" charset="2"/>
              <a:buNone/>
            </a:pPr>
            <a:br>
              <a:rPr lang="ru-RU" dirty="0"/>
            </a:br>
            <a:br>
              <a:rPr lang="ru-RU" dirty="0"/>
            </a:br>
            <a:endParaRPr lang="ru-RU" dirty="0"/>
          </a:p>
          <a:p>
            <a:pPr marL="0" indent="0">
              <a:buFont typeface="Wingdings" panose="05000000000000000000" pitchFamily="2" charset="2"/>
              <a:buNone/>
            </a:pPr>
            <a:br>
              <a:rPr lang="ru-RU" dirty="0"/>
            </a:br>
            <a:endParaRPr lang="de-DE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029040E-B90E-F9C3-CC09-3F5D59BD1D8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8000"/>
          </a:blip>
          <a:stretch>
            <a:fillRect/>
          </a:stretch>
        </p:blipFill>
        <p:spPr>
          <a:xfrm>
            <a:off x="577849" y="0"/>
            <a:ext cx="11205883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3611144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EA_Template">
  <a:themeElements>
    <a:clrScheme name="GEA_Colors">
      <a:dk1>
        <a:sysClr val="windowText" lastClr="000000"/>
      </a:dk1>
      <a:lt1>
        <a:sysClr val="window" lastClr="FFFFFF"/>
      </a:lt1>
      <a:dk2>
        <a:srgbClr val="0303B8"/>
      </a:dk2>
      <a:lt2>
        <a:srgbClr val="E6E6E6"/>
      </a:lt2>
      <a:accent1>
        <a:srgbClr val="0303B8"/>
      </a:accent1>
      <a:accent2>
        <a:srgbClr val="1F9DFF"/>
      </a:accent2>
      <a:accent3>
        <a:srgbClr val="000F41"/>
      </a:accent3>
      <a:accent4>
        <a:srgbClr val="E6E6E6"/>
      </a:accent4>
      <a:accent5>
        <a:srgbClr val="1AFF80"/>
      </a:accent5>
      <a:accent6>
        <a:srgbClr val="FF80FF"/>
      </a:accent6>
      <a:hlink>
        <a:srgbClr val="1F9DFF"/>
      </a:hlink>
      <a:folHlink>
        <a:srgbClr val="1F9DFF"/>
      </a:folHlink>
    </a:clrScheme>
    <a:fontScheme name="GEA_fonts">
      <a:majorFont>
        <a:latin typeface="Inter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>
          <a:noFill/>
        </a:ln>
      </a:spPr>
      <a:bodyPr lIns="108000" tIns="72000" rIns="108000" bIns="72000" rtlCol="0" anchor="ctr"/>
      <a:lstStyle>
        <a:defPPr marL="174625" indent="-174625" algn="l">
          <a:buFont typeface="Wingdings" panose="05000000000000000000" pitchFamily="2" charset="2"/>
          <a:buChar char="§"/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err="1" smtClean="0"/>
        </a:defPPr>
      </a:lstStyle>
    </a:txDef>
  </a:objectDefaults>
  <a:extraClrSchemeLst/>
  <a:custClrLst>
    <a:custClr name="Dark Red">
      <a:srgbClr val="57021D"/>
    </a:custClr>
    <a:custClr name="Red">
      <a:srgbClr val="DB1E28"/>
    </a:custClr>
    <a:custClr name="Light Red">
      <a:srgbClr val="FFA4A9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rk Green">
      <a:srgbClr val="0A3D1B"/>
    </a:custClr>
    <a:custClr name="Green">
      <a:srgbClr val="129C4D"/>
    </a:custClr>
    <a:custClr name="Light Green">
      <a:srgbClr val="53F99B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rk Yellow">
      <a:srgbClr val="5F5407"/>
    </a:custClr>
    <a:custClr name="Yellow">
      <a:srgbClr val="F2CB00"/>
    </a:custClr>
    <a:custClr name="Light Yellow">
      <a:srgbClr val="FFEA7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20220317_GEA_Template_VibrantBlue.potx" id="{6886B052-CFBE-4C2B-8684-93ABC61292E8}" vid="{6C34DD33-CC3A-439C-B788-63E299A6F99F}"/>
    </a:ext>
  </a:extLst>
</a:theme>
</file>

<file path=ppt/theme/theme2.xml><?xml version="1.0" encoding="utf-8"?>
<a:theme xmlns:a="http://schemas.openxmlformats.org/drawingml/2006/main" name="Office">
  <a:themeElements>
    <a:clrScheme name="GEA_Colors">
      <a:dk1>
        <a:sysClr val="windowText" lastClr="000000"/>
      </a:dk1>
      <a:lt1>
        <a:sysClr val="window" lastClr="FFFFFF"/>
      </a:lt1>
      <a:dk2>
        <a:srgbClr val="0303B8"/>
      </a:dk2>
      <a:lt2>
        <a:srgbClr val="E6E6E6"/>
      </a:lt2>
      <a:accent1>
        <a:srgbClr val="0303B8"/>
      </a:accent1>
      <a:accent2>
        <a:srgbClr val="1F9DFF"/>
      </a:accent2>
      <a:accent3>
        <a:srgbClr val="000F41"/>
      </a:accent3>
      <a:accent4>
        <a:srgbClr val="E6E6E6"/>
      </a:accent4>
      <a:accent5>
        <a:srgbClr val="1AFF80"/>
      </a:accent5>
      <a:accent6>
        <a:srgbClr val="FF80FF"/>
      </a:accent6>
      <a:hlink>
        <a:srgbClr val="1F9DFF"/>
      </a:hlink>
      <a:folHlink>
        <a:srgbClr val="1F9DFF"/>
      </a:folHlink>
    </a:clrScheme>
    <a:fontScheme name="GEA_fonts">
      <a:majorFont>
        <a:latin typeface="Inter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GEA_Colors">
      <a:dk1>
        <a:sysClr val="windowText" lastClr="000000"/>
      </a:dk1>
      <a:lt1>
        <a:sysClr val="window" lastClr="FFFFFF"/>
      </a:lt1>
      <a:dk2>
        <a:srgbClr val="0303B8"/>
      </a:dk2>
      <a:lt2>
        <a:srgbClr val="E6E6E6"/>
      </a:lt2>
      <a:accent1>
        <a:srgbClr val="0303B8"/>
      </a:accent1>
      <a:accent2>
        <a:srgbClr val="1F9DFF"/>
      </a:accent2>
      <a:accent3>
        <a:srgbClr val="000F41"/>
      </a:accent3>
      <a:accent4>
        <a:srgbClr val="E6E6E6"/>
      </a:accent4>
      <a:accent5>
        <a:srgbClr val="1AFF80"/>
      </a:accent5>
      <a:accent6>
        <a:srgbClr val="FF80FF"/>
      </a:accent6>
      <a:hlink>
        <a:srgbClr val="1F9DFF"/>
      </a:hlink>
      <a:folHlink>
        <a:srgbClr val="1F9DFF"/>
      </a:folHlink>
    </a:clrScheme>
    <a:fontScheme name="GEA_fonts">
      <a:majorFont>
        <a:latin typeface="Inter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D43F5AEF05A364D8EB4CB078F67AE45" ma:contentTypeVersion="5" ma:contentTypeDescription="Ein neues Dokument erstellen." ma:contentTypeScope="" ma:versionID="a2753bd3b1472f9357f5fe0c6575d684">
  <xsd:schema xmlns:xsd="http://www.w3.org/2001/XMLSchema" xmlns:xs="http://www.w3.org/2001/XMLSchema" xmlns:p="http://schemas.microsoft.com/office/2006/metadata/properties" xmlns:ns3="f7d9f479-4b77-4bc9-98c9-8a5926a06f21" xmlns:ns4="b1e9a345-1183-439c-b3e7-0d8e32e826ff" targetNamespace="http://schemas.microsoft.com/office/2006/metadata/properties" ma:root="true" ma:fieldsID="ae3c10fb3a6eef814953c7e28d9e4537" ns3:_="" ns4:_="">
    <xsd:import namespace="f7d9f479-4b77-4bc9-98c9-8a5926a06f21"/>
    <xsd:import namespace="b1e9a345-1183-439c-b3e7-0d8e32e826f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d9f479-4b77-4bc9-98c9-8a5926a06f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e9a345-1183-439c-b3e7-0d8e32e826f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Freigabehinweis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E136110-E5D0-4A79-91EE-8674C725FD4B}">
  <ds:schemaRefs>
    <ds:schemaRef ds:uri="http://purl.org/dc/elements/1.1/"/>
    <ds:schemaRef ds:uri="b1e9a345-1183-439c-b3e7-0d8e32e826ff"/>
    <ds:schemaRef ds:uri="http://purl.org/dc/terms/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f7d9f479-4b77-4bc9-98c9-8a5926a06f21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D653B51-63DB-4D6A-AF62-DDC2C6587B6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5DAA371-9281-4A16-87B4-1156998AFEBD}">
  <ds:schemaRefs>
    <ds:schemaRef ds:uri="b1e9a345-1183-439c-b3e7-0d8e32e826ff"/>
    <ds:schemaRef ds:uri="f7d9f479-4b77-4bc9-98c9-8a5926a06f2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392ba0ad-d9a0-48c3-b205-3d4e73a4c402}" enabled="1" method="Privileged" siteId="{0e17f90f-88a3-4f93-a5d7-cc847cff307e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610</TotalTime>
  <Words>823</Words>
  <Application>Microsoft Office PowerPoint</Application>
  <PresentationFormat>Широкоэкранный</PresentationFormat>
  <Paragraphs>209</Paragraphs>
  <Slides>23</Slides>
  <Notes>3</Notes>
  <HiddenSlides>0</HiddenSlides>
  <MMClips>1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31" baseType="lpstr">
      <vt:lpstr>Arial</vt:lpstr>
      <vt:lpstr>GEA Sans Bold</vt:lpstr>
      <vt:lpstr>Inter</vt:lpstr>
      <vt:lpstr>Inter Medium</vt:lpstr>
      <vt:lpstr>Symbol</vt:lpstr>
      <vt:lpstr>Wingdings</vt:lpstr>
      <vt:lpstr>GEA_Template</vt:lpstr>
      <vt:lpstr>think-cell Folie</vt:lpstr>
      <vt:lpstr>Системы вентиляции на МТФ для северного и южного Казахстана</vt:lpstr>
      <vt:lpstr>Экономическое обоснование систем вентиляции на МТФ</vt:lpstr>
      <vt:lpstr>Вентиляция на МТФ</vt:lpstr>
      <vt:lpstr>Экономические примеры</vt:lpstr>
      <vt:lpstr>Старая Калитва. Воронежская область</vt:lpstr>
      <vt:lpstr>Старая Калитва. Воронежская область</vt:lpstr>
      <vt:lpstr>Старая Калитва. Показатели надоев в летний период</vt:lpstr>
      <vt:lpstr>Старая Калитва. Стоимость оборудования</vt:lpstr>
      <vt:lpstr>Старая Калитва. Окупаемость</vt:lpstr>
      <vt:lpstr>Сеньково. Московская область. РФ</vt:lpstr>
      <vt:lpstr>Сеньково. Оборудование</vt:lpstr>
      <vt:lpstr>Сеньково. Оборудование</vt:lpstr>
      <vt:lpstr>Сеньково. Оборудование</vt:lpstr>
      <vt:lpstr>Орошение</vt:lpstr>
      <vt:lpstr>ОСП-АГРО. Показатели надоев в летний период</vt:lpstr>
      <vt:lpstr>Сенницы. Московская область</vt:lpstr>
      <vt:lpstr>Сенницы. Оборудование</vt:lpstr>
      <vt:lpstr>Сенницы. Показатели вентиляции</vt:lpstr>
      <vt:lpstr>Сенницы. Показатели вентиляции</vt:lpstr>
      <vt:lpstr>Сенницы. Экономические показатели</vt:lpstr>
      <vt:lpstr>Выводы</vt:lpstr>
      <vt:lpstr>Выводы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A F4800 Feed pusher robot</dc:title>
  <dc:creator>McGill, Colby</dc:creator>
  <cp:lastModifiedBy>Motin, Boris</cp:lastModifiedBy>
  <cp:revision>135</cp:revision>
  <dcterms:created xsi:type="dcterms:W3CDTF">2022-05-05T08:12:36Z</dcterms:created>
  <dcterms:modified xsi:type="dcterms:W3CDTF">2024-07-04T07:07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D43F5AEF05A364D8EB4CB078F67AE45</vt:lpwstr>
  </property>
  <property fmtid="{D5CDD505-2E9C-101B-9397-08002B2CF9AE}" pid="3" name="MSIP_Label_392ba0ad-d9a0-48c3-b205-3d4e73a4c402_Enabled">
    <vt:lpwstr>true</vt:lpwstr>
  </property>
  <property fmtid="{D5CDD505-2E9C-101B-9397-08002B2CF9AE}" pid="4" name="MSIP_Label_392ba0ad-d9a0-48c3-b205-3d4e73a4c402_SetDate">
    <vt:lpwstr>2023-04-10T15:12:54Z</vt:lpwstr>
  </property>
  <property fmtid="{D5CDD505-2E9C-101B-9397-08002B2CF9AE}" pid="5" name="MSIP_Label_392ba0ad-d9a0-48c3-b205-3d4e73a4c402_Method">
    <vt:lpwstr>Privileged</vt:lpwstr>
  </property>
  <property fmtid="{D5CDD505-2E9C-101B-9397-08002B2CF9AE}" pid="6" name="MSIP_Label_392ba0ad-d9a0-48c3-b205-3d4e73a4c402_Name">
    <vt:lpwstr>Internal</vt:lpwstr>
  </property>
  <property fmtid="{D5CDD505-2E9C-101B-9397-08002B2CF9AE}" pid="7" name="MSIP_Label_392ba0ad-d9a0-48c3-b205-3d4e73a4c402_SiteId">
    <vt:lpwstr>0e17f90f-88a3-4f93-a5d7-cc847cff307e</vt:lpwstr>
  </property>
  <property fmtid="{D5CDD505-2E9C-101B-9397-08002B2CF9AE}" pid="8" name="MSIP_Label_392ba0ad-d9a0-48c3-b205-3d4e73a4c402_ActionId">
    <vt:lpwstr>2805ebff-2cd0-4be0-a96c-3e6012597a5b</vt:lpwstr>
  </property>
  <property fmtid="{D5CDD505-2E9C-101B-9397-08002B2CF9AE}" pid="9" name="MSIP_Label_392ba0ad-d9a0-48c3-b205-3d4e73a4c402_ContentBits">
    <vt:lpwstr>2</vt:lpwstr>
  </property>
</Properties>
</file>